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4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5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8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9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10" r:id="rId5"/>
    <p:sldMasterId id="2147484341" r:id="rId6"/>
    <p:sldMasterId id="2147484365" r:id="rId7"/>
    <p:sldMasterId id="2147484395" r:id="rId8"/>
    <p:sldMasterId id="2147484421" r:id="rId9"/>
    <p:sldMasterId id="2147484483" r:id="rId10"/>
    <p:sldMasterId id="2147484508" r:id="rId11"/>
    <p:sldMasterId id="2147484533" r:id="rId12"/>
    <p:sldMasterId id="2147484548" r:id="rId13"/>
  </p:sldMasterIdLst>
  <p:notesMasterIdLst>
    <p:notesMasterId r:id="rId61"/>
  </p:notesMasterIdLst>
  <p:handoutMasterIdLst>
    <p:handoutMasterId r:id="rId62"/>
  </p:handoutMasterIdLst>
  <p:sldIdLst>
    <p:sldId id="1638" r:id="rId14"/>
    <p:sldId id="1713" r:id="rId15"/>
    <p:sldId id="1639" r:id="rId16"/>
    <p:sldId id="1699" r:id="rId17"/>
    <p:sldId id="1715" r:id="rId18"/>
    <p:sldId id="1731" r:id="rId19"/>
    <p:sldId id="1732" r:id="rId20"/>
    <p:sldId id="1641" r:id="rId21"/>
    <p:sldId id="1733" r:id="rId22"/>
    <p:sldId id="1738" r:id="rId23"/>
    <p:sldId id="1727" r:id="rId24"/>
    <p:sldId id="1799" r:id="rId25"/>
    <p:sldId id="1800" r:id="rId26"/>
    <p:sldId id="1801" r:id="rId27"/>
    <p:sldId id="1803" r:id="rId28"/>
    <p:sldId id="1740" r:id="rId29"/>
    <p:sldId id="1741" r:id="rId30"/>
    <p:sldId id="1742" r:id="rId31"/>
    <p:sldId id="1743" r:id="rId32"/>
    <p:sldId id="1744" r:id="rId33"/>
    <p:sldId id="1746" r:id="rId34"/>
    <p:sldId id="1773" r:id="rId35"/>
    <p:sldId id="1776" r:id="rId36"/>
    <p:sldId id="1777" r:id="rId37"/>
    <p:sldId id="1779" r:id="rId38"/>
    <p:sldId id="1780" r:id="rId39"/>
    <p:sldId id="1781" r:id="rId40"/>
    <p:sldId id="1782" r:id="rId41"/>
    <p:sldId id="1783" r:id="rId42"/>
    <p:sldId id="1784" r:id="rId43"/>
    <p:sldId id="1785" r:id="rId44"/>
    <p:sldId id="1757" r:id="rId45"/>
    <p:sldId id="1758" r:id="rId46"/>
    <p:sldId id="1788" r:id="rId47"/>
    <p:sldId id="1789" r:id="rId48"/>
    <p:sldId id="1790" r:id="rId49"/>
    <p:sldId id="1791" r:id="rId50"/>
    <p:sldId id="1792" r:id="rId51"/>
    <p:sldId id="1793" r:id="rId52"/>
    <p:sldId id="1794" r:id="rId53"/>
    <p:sldId id="1795" r:id="rId54"/>
    <p:sldId id="1771" r:id="rId55"/>
    <p:sldId id="1796" r:id="rId56"/>
    <p:sldId id="1797" r:id="rId57"/>
    <p:sldId id="1798" r:id="rId58"/>
    <p:sldId id="1739" r:id="rId59"/>
    <p:sldId id="1802" r:id="rId60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/>
  </p:cmAuthor>
  <p:cmAuthor id="3" name="Mary Feil-Jacobs" initials="MF" lastIdx="22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3B01"/>
    <a:srgbClr val="0078D7"/>
    <a:srgbClr val="7F7F7F"/>
    <a:srgbClr val="00BCF2"/>
    <a:srgbClr val="FFB900"/>
    <a:srgbClr val="505050"/>
    <a:srgbClr val="D2D2D2"/>
    <a:srgbClr val="C9C9C9"/>
    <a:srgbClr val="F8F8F8"/>
    <a:srgbClr val="E9AF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86" autoAdjust="0"/>
    <p:restoredTop sz="87225" autoAdjust="0"/>
  </p:normalViewPr>
  <p:slideViewPr>
    <p:cSldViewPr>
      <p:cViewPr varScale="1">
        <p:scale>
          <a:sx n="94" d="100"/>
          <a:sy n="94" d="100"/>
        </p:scale>
        <p:origin x="1206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350"/>
    </p:cViewPr>
  </p:sorterViewPr>
  <p:notesViewPr>
    <p:cSldViewPr showGuides="1">
      <p:cViewPr varScale="1">
        <p:scale>
          <a:sx n="99" d="100"/>
          <a:sy n="99" d="100"/>
        </p:scale>
        <p:origin x="3570" y="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slide" Target="slides/slide29.xml"/><Relationship Id="rId47" Type="http://schemas.openxmlformats.org/officeDocument/2006/relationships/slide" Target="slides/slide34.xml"/><Relationship Id="rId50" Type="http://schemas.openxmlformats.org/officeDocument/2006/relationships/slide" Target="slides/slide37.xml"/><Relationship Id="rId55" Type="http://schemas.openxmlformats.org/officeDocument/2006/relationships/slide" Target="slides/slide42.xml"/><Relationship Id="rId63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slide" Target="slides/slide32.xml"/><Relationship Id="rId53" Type="http://schemas.openxmlformats.org/officeDocument/2006/relationships/slide" Target="slides/slide40.xml"/><Relationship Id="rId58" Type="http://schemas.openxmlformats.org/officeDocument/2006/relationships/slide" Target="slides/slide45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slide" Target="slides/slide36.xml"/><Relationship Id="rId57" Type="http://schemas.openxmlformats.org/officeDocument/2006/relationships/slide" Target="slides/slide44.xml"/><Relationship Id="rId61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slide" Target="slides/slide31.xml"/><Relationship Id="rId52" Type="http://schemas.openxmlformats.org/officeDocument/2006/relationships/slide" Target="slides/slide39.xml"/><Relationship Id="rId60" Type="http://schemas.openxmlformats.org/officeDocument/2006/relationships/slide" Target="slides/slide47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slide" Target="slides/slide30.xml"/><Relationship Id="rId48" Type="http://schemas.openxmlformats.org/officeDocument/2006/relationships/slide" Target="slides/slide35.xml"/><Relationship Id="rId56" Type="http://schemas.openxmlformats.org/officeDocument/2006/relationships/slide" Target="slides/slide43.xml"/><Relationship Id="rId64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8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slide" Target="slides/slide33.xml"/><Relationship Id="rId59" Type="http://schemas.openxmlformats.org/officeDocument/2006/relationships/slide" Target="slides/slide46.xml"/><Relationship Id="rId67" Type="http://schemas.openxmlformats.org/officeDocument/2006/relationships/tableStyles" Target="tableStyles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54" Type="http://schemas.openxmlformats.org/officeDocument/2006/relationships/slide" Target="slides/slide41.xml"/><Relationship Id="rId6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>
                <a:latin typeface="Segoe UI" pitchFamily="34" charset="0"/>
              </a:rPr>
              <a:t>Microsoft 2016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1/21/2018 4:08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/>
              <a:t>Microsoft 2016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9854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8338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1437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9522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0251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6215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4194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8959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9472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8071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697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58571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5922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0430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2384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1037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0840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5744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4382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89532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27825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446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2291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98752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52661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35504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21882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0230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83446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51668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39076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27996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0144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0013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0489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98748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669979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95950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74870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72702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1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9615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7417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5871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9376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486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/21/2018 4:0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404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emf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685010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6829564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C9E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037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6" y="1211264"/>
            <a:ext cx="11889564" cy="917575"/>
          </a:xfrm>
        </p:spPr>
        <p:txBody>
          <a:bodyPr/>
          <a:lstStyle>
            <a:lvl1pPr>
              <a:defRPr sz="7198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554670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&amp;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2577" y="2430463"/>
            <a:ext cx="11887200" cy="932563"/>
          </a:xfrm>
        </p:spPr>
        <p:txBody>
          <a:bodyPr/>
          <a:lstStyle>
            <a:lvl1pPr marL="0" indent="0">
              <a:buNone/>
              <a:defRPr sz="5399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82576" y="1211264"/>
            <a:ext cx="11889564" cy="917575"/>
          </a:xfrm>
        </p:spPr>
        <p:txBody>
          <a:bodyPr/>
          <a:lstStyle>
            <a:lvl1pPr>
              <a:defRPr sz="7198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983496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3124613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9232" y="3145040"/>
            <a:ext cx="3291840" cy="705836"/>
          </a:xfrm>
          <a:prstGeom prst="rect">
            <a:avLst/>
          </a:prstGeom>
        </p:spPr>
      </p:pic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0946" y="2441907"/>
            <a:ext cx="4698293" cy="210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281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5818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73147394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" t="14165" r="9710" b="9710"/>
          <a:stretch/>
        </p:blipFill>
        <p:spPr>
          <a:xfrm>
            <a:off x="0" y="0"/>
            <a:ext cx="12436475" cy="6994525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74638" y="1211263"/>
            <a:ext cx="6400800" cy="2743200"/>
          </a:xfrm>
          <a:prstGeom prst="rect">
            <a:avLst/>
          </a:prstGeom>
          <a:solidFill>
            <a:schemeClr val="bg2">
              <a:alpha val="80000"/>
            </a:schemeClr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83" b="5353"/>
          <a:stretch/>
        </p:blipFill>
        <p:spPr>
          <a:xfrm>
            <a:off x="-1" y="0"/>
            <a:ext cx="12436475" cy="699452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637" y="1232250"/>
            <a:ext cx="8536515" cy="1190453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84066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4637" y="2152578"/>
            <a:ext cx="8536517" cy="2280572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gradFill>
                  <a:gsLst>
                    <a:gs pos="84066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580" y="6255937"/>
            <a:ext cx="1280160" cy="274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76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6838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080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92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590139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1077446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lor bullet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1801264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53934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53934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258308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53607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9">
                <a:solidFill>
                  <a:schemeClr val="tx1"/>
                </a:soli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53607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9">
                <a:solidFill>
                  <a:schemeClr val="tx1"/>
                </a:soli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857586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603790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Tx/>
              <a:buBlip>
                <a:blip r:embed="rId2"/>
              </a:buBlip>
              <a:defRPr sz="35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603790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Tx/>
              <a:buBlip>
                <a:blip r:embed="rId2"/>
              </a:buBlip>
              <a:defRPr sz="35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650917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Bullet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603790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Tx/>
              <a:buBlip>
                <a:blip r:embed="rId2"/>
              </a:buBlip>
              <a:defRPr sz="3599">
                <a:solidFill>
                  <a:schemeClr val="tx1"/>
                </a:soli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603790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Tx/>
              <a:buBlip>
                <a:blip r:embed="rId2"/>
              </a:buBlip>
              <a:defRPr sz="3599">
                <a:solidFill>
                  <a:schemeClr val="tx1"/>
                </a:soli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859124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5422434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6" y="1211264"/>
            <a:ext cx="11889564" cy="917575"/>
          </a:xfrm>
        </p:spPr>
        <p:txBody>
          <a:bodyPr/>
          <a:lstStyle>
            <a:lvl1pPr>
              <a:defRPr sz="7198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076685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3226" y="2125664"/>
            <a:ext cx="8219813" cy="1828800"/>
          </a:xfrm>
        </p:spPr>
        <p:txBody>
          <a:bodyPr/>
          <a:lstStyle>
            <a:lvl1pPr>
              <a:defRPr sz="599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97380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_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3226" y="2125664"/>
            <a:ext cx="8219813" cy="1828800"/>
          </a:xfrm>
        </p:spPr>
        <p:txBody>
          <a:bodyPr/>
          <a:lstStyle>
            <a:lvl1pPr>
              <a:defRPr sz="599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895813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89038" y="1201807"/>
            <a:ext cx="10058399" cy="917575"/>
          </a:xfrm>
        </p:spPr>
        <p:txBody>
          <a:bodyPr/>
          <a:lstStyle>
            <a:lvl1pPr marL="233318" indent="-233318">
              <a:defRPr sz="5999" baseline="0"/>
            </a:lvl1pPr>
          </a:lstStyle>
          <a:p>
            <a:r>
              <a:rPr lang="en-US" dirty="0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761038" y="5126038"/>
            <a:ext cx="5486400" cy="10710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99" baseline="0">
                <a:latin typeface="+mj-lt"/>
              </a:defRPr>
            </a:lvl1pPr>
          </a:lstStyle>
          <a:p>
            <a:pPr lvl="0"/>
            <a:r>
              <a:rPr lang="en-US" dirty="0"/>
              <a:t>Author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54501894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_Accent Colo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89038" y="2125664"/>
            <a:ext cx="10058399" cy="917575"/>
          </a:xfrm>
        </p:spPr>
        <p:txBody>
          <a:bodyPr/>
          <a:lstStyle>
            <a:lvl1pPr marL="282520" indent="-282520">
              <a:tabLst>
                <a:tab pos="282520" algn="l"/>
              </a:tabLst>
              <a:defRPr sz="5999" baseline="0"/>
            </a:lvl1pPr>
          </a:lstStyle>
          <a:p>
            <a:r>
              <a:rPr lang="en-US" dirty="0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761038" y="4868847"/>
            <a:ext cx="5486400" cy="10710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99" baseline="0">
                <a:latin typeface="+mj-lt"/>
              </a:defRPr>
            </a:lvl1pPr>
          </a:lstStyle>
          <a:p>
            <a:pPr lvl="0"/>
            <a:r>
              <a:rPr lang="en-US" dirty="0"/>
              <a:t>Author’s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84946347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&amp; 3 Poi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2577" y="2430463"/>
            <a:ext cx="11887200" cy="932563"/>
          </a:xfrm>
        </p:spPr>
        <p:txBody>
          <a:bodyPr/>
          <a:lstStyle>
            <a:lvl1pPr marL="0" indent="0">
              <a:buNone/>
              <a:defRPr sz="5399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82576" y="1211264"/>
            <a:ext cx="11889564" cy="917575"/>
          </a:xfrm>
        </p:spPr>
        <p:txBody>
          <a:bodyPr/>
          <a:lstStyle>
            <a:lvl1pPr>
              <a:defRPr sz="7198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345752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5158570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8660629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7787383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8455994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6153"/>
            <a:ext cx="11887199" cy="2131353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482612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C9E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5465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784147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790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2"/>
          <p:cNvSpPr txBox="1">
            <a:spLocks/>
          </p:cNvSpPr>
          <p:nvPr userDrawn="1"/>
        </p:nvSpPr>
        <p:spPr>
          <a:xfrm>
            <a:off x="274639" y="6565392"/>
            <a:ext cx="3937000" cy="137160"/>
          </a:xfrm>
          <a:prstGeom prst="rect">
            <a:avLst/>
          </a:prstGeom>
        </p:spPr>
        <p:txBody>
          <a:bodyPr vert="horz" lIns="0" tIns="0" rIns="91427" bIns="0" rtlCol="0" anchor="ctr"/>
          <a:lstStyle>
            <a:defPPr>
              <a:defRPr lang="en-US"/>
            </a:defPPr>
            <a:lvl1pPr marL="0" algn="l" defTabSz="932742" rtl="0" eaLnBrk="1" latinLnBrk="0" hangingPunct="1">
              <a:defRPr lang="en-US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sz="900" dirty="0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693527" y="6515100"/>
            <a:ext cx="731837" cy="3714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9B41CE0-7BB8-478B-B03D-5495234161DB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862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1" y="6240963"/>
            <a:ext cx="1278510" cy="2741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013" y="490737"/>
            <a:ext cx="1436313" cy="306604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2676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90737"/>
            <a:ext cx="1449939" cy="306604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>
      <p:ext uri="{BB962C8B-B14F-4D97-AF65-F5344CB8AC3E}">
        <p14:creationId xmlns:p14="http://schemas.microsoft.com/office/powerpoint/2010/main" val="823813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57200" y="490736"/>
            <a:ext cx="1239006" cy="310896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>
      <p:ext uri="{BB962C8B-B14F-4D97-AF65-F5344CB8AC3E}">
        <p14:creationId xmlns:p14="http://schemas.microsoft.com/office/powerpoint/2010/main" val="1879681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741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399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7713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1189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59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352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736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041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9602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436" y="2963863"/>
            <a:ext cx="10235966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00079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4"/>
            <a:ext cx="91440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91439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98935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91439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870110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221292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60964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2860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0869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3563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6335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39446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13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940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1108671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1688724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04856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47891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8530" y="1743775"/>
            <a:ext cx="10726460" cy="2909528"/>
          </a:xfrm>
        </p:spPr>
        <p:txBody>
          <a:bodyPr anchor="b"/>
          <a:lstStyle>
            <a:lvl1pPr>
              <a:defRPr sz="61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8530" y="4680828"/>
            <a:ext cx="10726460" cy="1530052"/>
          </a:xfrm>
        </p:spPr>
        <p:txBody>
          <a:bodyPr/>
          <a:lstStyle>
            <a:lvl1pPr marL="0" indent="0">
              <a:buNone/>
              <a:defRPr sz="2448">
                <a:solidFill>
                  <a:schemeClr val="tx1">
                    <a:tint val="75000"/>
                  </a:schemeClr>
                </a:solidFill>
              </a:defRPr>
            </a:lvl1pPr>
            <a:lvl2pPr marL="466298" indent="0">
              <a:buNone/>
              <a:defRPr sz="2040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14306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7727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974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7" y="372394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628" y="1714631"/>
            <a:ext cx="5261211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628" y="2554944"/>
            <a:ext cx="5261211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5965" y="1714631"/>
            <a:ext cx="5287122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76054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3901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2860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>
              <a:defRPr sz="3264"/>
            </a:lvl1pPr>
            <a:lvl2pPr>
              <a:defRPr sz="2856"/>
            </a:lvl2pPr>
            <a:lvl3pPr>
              <a:defRPr sz="2448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09034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 marL="0" indent="0">
              <a:buNone/>
              <a:defRPr sz="3264"/>
            </a:lvl1pPr>
            <a:lvl2pPr marL="466298" indent="0">
              <a:buNone/>
              <a:defRPr sz="2856"/>
            </a:lvl2pPr>
            <a:lvl3pPr marL="932597" indent="0">
              <a:buNone/>
              <a:defRPr sz="2448"/>
            </a:lvl3pPr>
            <a:lvl4pPr marL="1398895" indent="0">
              <a:buNone/>
              <a:defRPr sz="2040"/>
            </a:lvl4pPr>
            <a:lvl5pPr marL="1865193" indent="0">
              <a:buNone/>
              <a:defRPr sz="2040"/>
            </a:lvl5pPr>
            <a:lvl6pPr marL="2331491" indent="0">
              <a:buNone/>
              <a:defRPr sz="2040"/>
            </a:lvl6pPr>
            <a:lvl7pPr marL="2797790" indent="0">
              <a:buNone/>
              <a:defRPr sz="2040"/>
            </a:lvl7pPr>
            <a:lvl8pPr marL="3264088" indent="0">
              <a:buNone/>
              <a:defRPr sz="2040"/>
            </a:lvl8pPr>
            <a:lvl9pPr marL="3730386" indent="0">
              <a:buNone/>
              <a:defRPr sz="204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51244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21861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99852" y="372394"/>
            <a:ext cx="2681615" cy="59275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5008" y="372394"/>
            <a:ext cx="7889389" cy="59275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FD0D1-7DED-437D-AF4F-67E5173ABE1C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56BD5-DA9F-4A48-A52F-4CA33E577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79320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/>
          <a:srcRect r="40044"/>
          <a:stretch/>
        </p:blipFill>
        <p:spPr>
          <a:xfrm>
            <a:off x="-246500" y="1965644"/>
            <a:ext cx="4736205" cy="2148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838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2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5897245"/>
            <a:ext cx="12435840" cy="109728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0840" y="6294141"/>
            <a:ext cx="1456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7196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622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4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979660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3392068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4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4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1510996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6066005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8646051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70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54" tIns="146283" rIns="182854" bIns="146283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9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199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142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23142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258954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4877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58375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36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159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5048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358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197761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290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0001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1"/>
            <a:ext cx="11887200" cy="2092752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98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730919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056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79425"/>
            <a:ext cx="1449939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/>
          <a:srcRect r="40044"/>
          <a:stretch/>
        </p:blipFill>
        <p:spPr>
          <a:xfrm>
            <a:off x="-246501" y="1965643"/>
            <a:ext cx="4736205" cy="2148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34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5897245"/>
            <a:ext cx="12435840" cy="109728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0840" y="6294142"/>
            <a:ext cx="1456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565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6518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4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065595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359454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238344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707770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66291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331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92519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3570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26104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5362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50853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3029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5650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00129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256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404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2636837" y="6686748"/>
            <a:ext cx="621665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icrosoft Confidential, Subject to Non-Disclosure Agreement (NDA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732404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2"/>
            <a:ext cx="11887200" cy="2092752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99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91242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3508377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6959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81006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6698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3401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7478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5276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358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6755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9964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6698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088525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674993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21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76505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95005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2860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9538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35388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977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79425"/>
            <a:ext cx="1449939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281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401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398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422725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67940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6641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28006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653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302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3918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6622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59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2264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3580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813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6308356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489489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87605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68091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98202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57146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5062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568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168367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3229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79425"/>
            <a:ext cx="1449939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356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487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3599"/>
            </a:lvl1pPr>
            <a:lvl2pPr marL="342834" indent="0">
              <a:buFontTx/>
              <a:buNone/>
              <a:defRPr/>
            </a:lvl2pPr>
            <a:lvl3pPr marL="571390" indent="0">
              <a:buFontTx/>
              <a:buNone/>
              <a:defRPr/>
            </a:lvl3pPr>
            <a:lvl4pPr marL="799946" indent="0">
              <a:buFontTx/>
              <a:buNone/>
              <a:defRPr/>
            </a:lvl4pPr>
            <a:lvl5pPr marL="1028503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7063698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pt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74642" y="1139825"/>
            <a:ext cx="11033125" cy="574675"/>
          </a:xfrm>
          <a:prstGeom prst="rect">
            <a:avLst/>
          </a:prstGeom>
        </p:spPr>
        <p:txBody>
          <a:bodyPr lIns="192024"/>
          <a:lstStyle>
            <a:lvl1pPr marL="0" indent="0">
              <a:buNone/>
              <a:defRPr lang="en-US" sz="2800" kern="120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 lang="en-US" sz="317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None/>
              <a:defRPr lang="en-US" sz="317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None/>
              <a:defRPr lang="en-US" sz="317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None/>
              <a:defRPr lang="en-US" sz="317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274320" y="292082"/>
            <a:ext cx="11887200" cy="946413"/>
          </a:xfrm>
          <a:prstGeom prst="rect">
            <a:avLst/>
          </a:prstGeom>
        </p:spPr>
        <p:txBody>
          <a:bodyPr/>
          <a:lstStyle>
            <a:lvl1pPr algn="l"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505050"/>
                </a:solidFill>
              </a:defRPr>
            </a:lvl1pPr>
          </a:lstStyle>
          <a:p>
            <a:pPr>
              <a:defRPr/>
            </a:pPr>
            <a:r>
              <a:t>Microsoft Confidentia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6052FC3A-E1BD-E54F-9A48-71EBDEF0055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665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7"/>
          <p:cNvSpPr txBox="1"/>
          <p:nvPr userDrawn="1"/>
        </p:nvSpPr>
        <p:spPr bwMode="white">
          <a:xfrm>
            <a:off x="4480570" y="6704327"/>
            <a:ext cx="3475341" cy="148188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44" b="0" i="0" u="none" strike="noStrike" kern="1200" cap="none" spc="135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2"/>
            <a:ext cx="11887200" cy="2092881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51219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436475" cy="1243471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64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223719" y="6482890"/>
            <a:ext cx="2901844" cy="372394"/>
          </a:xfrm>
        </p:spPr>
        <p:txBody>
          <a:bodyPr/>
          <a:lstStyle>
            <a:lvl1pPr>
              <a:defRPr sz="1088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21824" y="1243471"/>
            <a:ext cx="11192828" cy="4973884"/>
          </a:xfrm>
          <a:noFill/>
        </p:spPr>
        <p:txBody>
          <a:bodyPr lIns="182880" tIns="91440" rIns="91440" bIns="91440">
            <a:normAutofit/>
          </a:bodyPr>
          <a:lstStyle>
            <a:lvl1pPr marL="310857" indent="-310857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21716" indent="-306540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32573" indent="-310857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43431" indent="-310857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54289" indent="-310857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980390588"/>
      </p:ext>
    </p:extLst>
  </p:cSld>
  <p:clrMapOvr>
    <a:masterClrMapping/>
  </p:clrMapOvr>
  <p:transition>
    <p:fade/>
  </p:transition>
  <p:hf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108491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6499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15586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457200" y="6121400"/>
            <a:ext cx="18288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74702" y="2125678"/>
            <a:ext cx="9143936" cy="1828786"/>
          </a:xfrm>
          <a:noFill/>
        </p:spPr>
        <p:txBody>
          <a:bodyPr anchorCtr="0"/>
          <a:lstStyle>
            <a:lvl1pPr>
              <a:defRPr sz="5400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1" y="3955786"/>
            <a:ext cx="7315137" cy="1828007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8957909"/>
      </p:ext>
    </p:extLst>
  </p:cSld>
  <p:clrMapOvr>
    <a:masterClrMapping/>
  </p:clrMapOvr>
  <p:transition spd="slow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719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0" y="1212852"/>
            <a:ext cx="11887200" cy="209181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32" indent="0">
              <a:buNone/>
              <a:defRPr/>
            </a:lvl3pPr>
            <a:lvl4pPr marL="457064" indent="0">
              <a:buNone/>
              <a:defRPr/>
            </a:lvl4pPr>
            <a:lvl5pPr marL="685596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0126588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nounc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5399" y="2284961"/>
            <a:ext cx="7086439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60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6036" y="3768007"/>
            <a:ext cx="708755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ontent placeholder</a:t>
            </a:r>
          </a:p>
        </p:txBody>
      </p:sp>
    </p:spTree>
    <p:extLst>
      <p:ext uri="{BB962C8B-B14F-4D97-AF65-F5344CB8AC3E}">
        <p14:creationId xmlns:p14="http://schemas.microsoft.com/office/powerpoint/2010/main" val="4034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28389E-6 2.19246E-6 " pathEditMode="relative" rAng="0" ptsTypes="AA">
                                      <p:cBhvr>
                                        <p:cTn id="12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28389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and Content - NO LOGO &amp;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436475" cy="69945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823" y="749322"/>
            <a:ext cx="11306829" cy="66966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0369" y="2383223"/>
            <a:ext cx="11275737" cy="1189043"/>
          </a:xfrm>
        </p:spPr>
        <p:txBody>
          <a:bodyPr/>
          <a:lstStyle>
            <a:lvl1pPr marL="0" indent="0">
              <a:buClr>
                <a:schemeClr val="bg2"/>
              </a:buClr>
              <a:buSzPct val="100000"/>
              <a:buFontTx/>
              <a:buNone/>
              <a:defRPr sz="2266">
                <a:solidFill>
                  <a:schemeClr val="bg1"/>
                </a:solidFill>
              </a:defRPr>
            </a:lvl1pPr>
            <a:lvl2pPr marL="647624" indent="0">
              <a:buClr>
                <a:schemeClr val="bg2"/>
              </a:buClr>
              <a:buSzPct val="100000"/>
              <a:buFontTx/>
              <a:buNone/>
              <a:defRPr sz="2040">
                <a:solidFill>
                  <a:schemeClr val="bg1"/>
                </a:solidFill>
              </a:defRPr>
            </a:lvl2pPr>
            <a:lvl3pPr marL="1234083" indent="0">
              <a:buClr>
                <a:schemeClr val="bg2"/>
              </a:buClr>
              <a:buSzPct val="100000"/>
              <a:buFontTx/>
              <a:buNone/>
              <a:defRPr sz="2040">
                <a:solidFill>
                  <a:schemeClr val="bg1"/>
                </a:solidFill>
              </a:defRPr>
            </a:lvl3pPr>
            <a:lvl4pPr marL="2011232" indent="-259050">
              <a:buClr>
                <a:schemeClr val="bg2"/>
              </a:buClr>
              <a:buFont typeface="Wingdings" panose="05000000000000000000" pitchFamily="2" charset="2"/>
              <a:buChar char="§"/>
              <a:defRPr sz="2040">
                <a:solidFill>
                  <a:schemeClr val="tx1"/>
                </a:solidFill>
              </a:defRPr>
            </a:lvl4pPr>
            <a:lvl5pPr marL="2399806" indent="-259050"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64823" y="1340989"/>
            <a:ext cx="11306829" cy="561372"/>
          </a:xfrm>
        </p:spPr>
        <p:txBody>
          <a:bodyPr/>
          <a:lstStyle>
            <a:lvl1pPr marL="0" indent="0" algn="ctr">
              <a:buFontTx/>
              <a:buNone/>
              <a:defRPr sz="2720" b="0">
                <a:solidFill>
                  <a:schemeClr val="tx2"/>
                </a:solidFill>
                <a:latin typeface="Trebuchet MS" panose="020B0603020202020204" pitchFamily="34" charset="0"/>
              </a:defRPr>
            </a:lvl1pPr>
            <a:lvl2pPr marL="647624" indent="0" algn="ctr">
              <a:buFontTx/>
              <a:buNone/>
              <a:defRPr sz="3173">
                <a:solidFill>
                  <a:schemeClr val="tx2"/>
                </a:solidFill>
                <a:latin typeface="Trebuchet MS" panose="020B0603020202020204" pitchFamily="34" charset="0"/>
              </a:defRPr>
            </a:lvl2pPr>
            <a:lvl3pPr marL="1234083" indent="0" algn="ctr">
              <a:buFontTx/>
              <a:buNone/>
              <a:defRPr sz="3173">
                <a:solidFill>
                  <a:schemeClr val="tx2"/>
                </a:solidFill>
                <a:latin typeface="Trebuchet MS" panose="020B0603020202020204" pitchFamily="34" charset="0"/>
              </a:defRPr>
            </a:lvl3pPr>
            <a:lvl4pPr marL="1752182" indent="0" algn="ctr">
              <a:buFontTx/>
              <a:buNone/>
              <a:defRPr sz="3173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2140756" indent="0" algn="ctr">
              <a:buFontTx/>
              <a:buNone/>
              <a:defRPr sz="3173">
                <a:solidFill>
                  <a:schemeClr val="tx2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11508121" y="6647998"/>
            <a:ext cx="661336" cy="122141"/>
            <a:chOff x="677492" y="-1417931"/>
            <a:chExt cx="3154606" cy="582700"/>
          </a:xfrm>
        </p:grpSpPr>
        <p:sp>
          <p:nvSpPr>
            <p:cNvPr id="7" name="Freeform 5"/>
            <p:cNvSpPr>
              <a:spLocks noEditPoints="1"/>
            </p:cNvSpPr>
            <p:nvPr userDrawn="1"/>
          </p:nvSpPr>
          <p:spPr bwMode="auto">
            <a:xfrm>
              <a:off x="3761772" y="-980905"/>
              <a:ext cx="70326" cy="68652"/>
            </a:xfrm>
            <a:custGeom>
              <a:avLst/>
              <a:gdLst>
                <a:gd name="T0" fmla="*/ 36 w 87"/>
                <a:gd name="T1" fmla="*/ 37 h 83"/>
                <a:gd name="T2" fmla="*/ 36 w 87"/>
                <a:gd name="T3" fmla="*/ 26 h 83"/>
                <a:gd name="T4" fmla="*/ 43 w 87"/>
                <a:gd name="T5" fmla="*/ 26 h 83"/>
                <a:gd name="T6" fmla="*/ 52 w 87"/>
                <a:gd name="T7" fmla="*/ 31 h 83"/>
                <a:gd name="T8" fmla="*/ 45 w 87"/>
                <a:gd name="T9" fmla="*/ 37 h 83"/>
                <a:gd name="T10" fmla="*/ 36 w 87"/>
                <a:gd name="T11" fmla="*/ 37 h 83"/>
                <a:gd name="T12" fmla="*/ 36 w 87"/>
                <a:gd name="T13" fmla="*/ 45 h 83"/>
                <a:gd name="T14" fmla="*/ 41 w 87"/>
                <a:gd name="T15" fmla="*/ 45 h 83"/>
                <a:gd name="T16" fmla="*/ 52 w 87"/>
                <a:gd name="T17" fmla="*/ 63 h 83"/>
                <a:gd name="T18" fmla="*/ 63 w 87"/>
                <a:gd name="T19" fmla="*/ 63 h 83"/>
                <a:gd name="T20" fmla="*/ 52 w 87"/>
                <a:gd name="T21" fmla="*/ 44 h 83"/>
                <a:gd name="T22" fmla="*/ 63 w 87"/>
                <a:gd name="T23" fmla="*/ 32 h 83"/>
                <a:gd name="T24" fmla="*/ 44 w 87"/>
                <a:gd name="T25" fmla="*/ 19 h 83"/>
                <a:gd name="T26" fmla="*/ 26 w 87"/>
                <a:gd name="T27" fmla="*/ 19 h 83"/>
                <a:gd name="T28" fmla="*/ 26 w 87"/>
                <a:gd name="T29" fmla="*/ 63 h 83"/>
                <a:gd name="T30" fmla="*/ 36 w 87"/>
                <a:gd name="T31" fmla="*/ 63 h 83"/>
                <a:gd name="T32" fmla="*/ 36 w 87"/>
                <a:gd name="T33" fmla="*/ 45 h 83"/>
                <a:gd name="T34" fmla="*/ 87 w 87"/>
                <a:gd name="T35" fmla="*/ 41 h 83"/>
                <a:gd name="T36" fmla="*/ 44 w 87"/>
                <a:gd name="T37" fmla="*/ 0 h 83"/>
                <a:gd name="T38" fmla="*/ 0 w 87"/>
                <a:gd name="T39" fmla="*/ 41 h 83"/>
                <a:gd name="T40" fmla="*/ 44 w 87"/>
                <a:gd name="T41" fmla="*/ 83 h 83"/>
                <a:gd name="T42" fmla="*/ 87 w 87"/>
                <a:gd name="T43" fmla="*/ 41 h 83"/>
                <a:gd name="T44" fmla="*/ 74 w 87"/>
                <a:gd name="T45" fmla="*/ 41 h 83"/>
                <a:gd name="T46" fmla="*/ 44 w 87"/>
                <a:gd name="T47" fmla="*/ 73 h 83"/>
                <a:gd name="T48" fmla="*/ 44 w 87"/>
                <a:gd name="T49" fmla="*/ 73 h 83"/>
                <a:gd name="T50" fmla="*/ 13 w 87"/>
                <a:gd name="T51" fmla="*/ 41 h 83"/>
                <a:gd name="T52" fmla="*/ 44 w 87"/>
                <a:gd name="T53" fmla="*/ 9 h 83"/>
                <a:gd name="T54" fmla="*/ 74 w 87"/>
                <a:gd name="T55" fmla="*/ 4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83">
                  <a:moveTo>
                    <a:pt x="36" y="37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7" y="26"/>
                    <a:pt x="52" y="27"/>
                    <a:pt x="52" y="31"/>
                  </a:cubicBezTo>
                  <a:cubicBezTo>
                    <a:pt x="52" y="36"/>
                    <a:pt x="50" y="37"/>
                    <a:pt x="45" y="37"/>
                  </a:cubicBezTo>
                  <a:cubicBezTo>
                    <a:pt x="36" y="37"/>
                    <a:pt x="36" y="37"/>
                    <a:pt x="36" y="37"/>
                  </a:cubicBezTo>
                  <a:moveTo>
                    <a:pt x="36" y="45"/>
                  </a:moveTo>
                  <a:cubicBezTo>
                    <a:pt x="41" y="45"/>
                    <a:pt x="41" y="45"/>
                    <a:pt x="41" y="45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8" y="43"/>
                    <a:pt x="63" y="41"/>
                    <a:pt x="63" y="32"/>
                  </a:cubicBezTo>
                  <a:cubicBezTo>
                    <a:pt x="63" y="22"/>
                    <a:pt x="56" y="19"/>
                    <a:pt x="44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45"/>
                    <a:pt x="36" y="45"/>
                    <a:pt x="36" y="45"/>
                  </a:cubicBezTo>
                  <a:moveTo>
                    <a:pt x="87" y="41"/>
                  </a:moveTo>
                  <a:cubicBezTo>
                    <a:pt x="87" y="15"/>
                    <a:pt x="66" y="0"/>
                    <a:pt x="44" y="0"/>
                  </a:cubicBezTo>
                  <a:cubicBezTo>
                    <a:pt x="21" y="0"/>
                    <a:pt x="0" y="15"/>
                    <a:pt x="0" y="41"/>
                  </a:cubicBezTo>
                  <a:cubicBezTo>
                    <a:pt x="0" y="67"/>
                    <a:pt x="21" y="83"/>
                    <a:pt x="44" y="83"/>
                  </a:cubicBezTo>
                  <a:cubicBezTo>
                    <a:pt x="66" y="83"/>
                    <a:pt x="87" y="67"/>
                    <a:pt x="87" y="41"/>
                  </a:cubicBezTo>
                  <a:moveTo>
                    <a:pt x="74" y="41"/>
                  </a:moveTo>
                  <a:cubicBezTo>
                    <a:pt x="74" y="60"/>
                    <a:pt x="60" y="73"/>
                    <a:pt x="44" y="73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26" y="73"/>
                    <a:pt x="13" y="60"/>
                    <a:pt x="13" y="41"/>
                  </a:cubicBezTo>
                  <a:cubicBezTo>
                    <a:pt x="13" y="22"/>
                    <a:pt x="26" y="9"/>
                    <a:pt x="44" y="9"/>
                  </a:cubicBezTo>
                  <a:cubicBezTo>
                    <a:pt x="60" y="9"/>
                    <a:pt x="74" y="22"/>
                    <a:pt x="74" y="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1700563" y="-1309093"/>
              <a:ext cx="2039443" cy="385118"/>
            </a:xfrm>
            <a:custGeom>
              <a:avLst/>
              <a:gdLst>
                <a:gd name="T0" fmla="*/ 1048 w 2520"/>
                <a:gd name="T1" fmla="*/ 0 h 472"/>
                <a:gd name="T2" fmla="*/ 1048 w 2520"/>
                <a:gd name="T3" fmla="*/ 472 h 472"/>
                <a:gd name="T4" fmla="*/ 1181 w 2520"/>
                <a:gd name="T5" fmla="*/ 472 h 472"/>
                <a:gd name="T6" fmla="*/ 1181 w 2520"/>
                <a:gd name="T7" fmla="*/ 0 h 472"/>
                <a:gd name="T8" fmla="*/ 1048 w 2520"/>
                <a:gd name="T9" fmla="*/ 0 h 472"/>
                <a:gd name="T10" fmla="*/ 0 w 2520"/>
                <a:gd name="T11" fmla="*/ 0 h 472"/>
                <a:gd name="T12" fmla="*/ 0 w 2520"/>
                <a:gd name="T13" fmla="*/ 472 h 472"/>
                <a:gd name="T14" fmla="*/ 134 w 2520"/>
                <a:gd name="T15" fmla="*/ 472 h 472"/>
                <a:gd name="T16" fmla="*/ 134 w 2520"/>
                <a:gd name="T17" fmla="*/ 105 h 472"/>
                <a:gd name="T18" fmla="*/ 239 w 2520"/>
                <a:gd name="T19" fmla="*/ 106 h 472"/>
                <a:gd name="T20" fmla="*/ 314 w 2520"/>
                <a:gd name="T21" fmla="*/ 132 h 472"/>
                <a:gd name="T22" fmla="*/ 344 w 2520"/>
                <a:gd name="T23" fmla="*/ 257 h 472"/>
                <a:gd name="T24" fmla="*/ 344 w 2520"/>
                <a:gd name="T25" fmla="*/ 472 h 472"/>
                <a:gd name="T26" fmla="*/ 474 w 2520"/>
                <a:gd name="T27" fmla="*/ 472 h 472"/>
                <a:gd name="T28" fmla="*/ 474 w 2520"/>
                <a:gd name="T29" fmla="*/ 211 h 472"/>
                <a:gd name="T30" fmla="*/ 239 w 2520"/>
                <a:gd name="T31" fmla="*/ 0 h 472"/>
                <a:gd name="T32" fmla="*/ 0 w 2520"/>
                <a:gd name="T33" fmla="*/ 0 h 472"/>
                <a:gd name="T34" fmla="*/ 1262 w 2520"/>
                <a:gd name="T35" fmla="*/ 0 h 472"/>
                <a:gd name="T36" fmla="*/ 1262 w 2520"/>
                <a:gd name="T37" fmla="*/ 472 h 472"/>
                <a:gd name="T38" fmla="*/ 1479 w 2520"/>
                <a:gd name="T39" fmla="*/ 472 h 472"/>
                <a:gd name="T40" fmla="*/ 1672 w 2520"/>
                <a:gd name="T41" fmla="*/ 410 h 472"/>
                <a:gd name="T42" fmla="*/ 1719 w 2520"/>
                <a:gd name="T43" fmla="*/ 242 h 472"/>
                <a:gd name="T44" fmla="*/ 1676 w 2520"/>
                <a:gd name="T45" fmla="*/ 79 h 472"/>
                <a:gd name="T46" fmla="*/ 1449 w 2520"/>
                <a:gd name="T47" fmla="*/ 0 h 472"/>
                <a:gd name="T48" fmla="*/ 1262 w 2520"/>
                <a:gd name="T49" fmla="*/ 0 h 472"/>
                <a:gd name="T50" fmla="*/ 1395 w 2520"/>
                <a:gd name="T51" fmla="*/ 103 h 472"/>
                <a:gd name="T52" fmla="*/ 1452 w 2520"/>
                <a:gd name="T53" fmla="*/ 103 h 472"/>
                <a:gd name="T54" fmla="*/ 1589 w 2520"/>
                <a:gd name="T55" fmla="*/ 237 h 472"/>
                <a:gd name="T56" fmla="*/ 1452 w 2520"/>
                <a:gd name="T57" fmla="*/ 372 h 472"/>
                <a:gd name="T58" fmla="*/ 1395 w 2520"/>
                <a:gd name="T59" fmla="*/ 372 h 472"/>
                <a:gd name="T60" fmla="*/ 1395 w 2520"/>
                <a:gd name="T61" fmla="*/ 103 h 472"/>
                <a:gd name="T62" fmla="*/ 856 w 2520"/>
                <a:gd name="T63" fmla="*/ 0 h 472"/>
                <a:gd name="T64" fmla="*/ 745 w 2520"/>
                <a:gd name="T65" fmla="*/ 374 h 472"/>
                <a:gd name="T66" fmla="*/ 638 w 2520"/>
                <a:gd name="T67" fmla="*/ 0 h 472"/>
                <a:gd name="T68" fmla="*/ 494 w 2520"/>
                <a:gd name="T69" fmla="*/ 0 h 472"/>
                <a:gd name="T70" fmla="*/ 646 w 2520"/>
                <a:gd name="T71" fmla="*/ 472 h 472"/>
                <a:gd name="T72" fmla="*/ 838 w 2520"/>
                <a:gd name="T73" fmla="*/ 472 h 472"/>
                <a:gd name="T74" fmla="*/ 992 w 2520"/>
                <a:gd name="T75" fmla="*/ 0 h 472"/>
                <a:gd name="T76" fmla="*/ 856 w 2520"/>
                <a:gd name="T77" fmla="*/ 0 h 472"/>
                <a:gd name="T78" fmla="*/ 1781 w 2520"/>
                <a:gd name="T79" fmla="*/ 472 h 472"/>
                <a:gd name="T80" fmla="*/ 1915 w 2520"/>
                <a:gd name="T81" fmla="*/ 472 h 472"/>
                <a:gd name="T82" fmla="*/ 1915 w 2520"/>
                <a:gd name="T83" fmla="*/ 0 h 472"/>
                <a:gd name="T84" fmla="*/ 1781 w 2520"/>
                <a:gd name="T85" fmla="*/ 0 h 472"/>
                <a:gd name="T86" fmla="*/ 1781 w 2520"/>
                <a:gd name="T87" fmla="*/ 472 h 472"/>
                <a:gd name="T88" fmla="*/ 2155 w 2520"/>
                <a:gd name="T89" fmla="*/ 1 h 472"/>
                <a:gd name="T90" fmla="*/ 1969 w 2520"/>
                <a:gd name="T91" fmla="*/ 472 h 472"/>
                <a:gd name="T92" fmla="*/ 2100 w 2520"/>
                <a:gd name="T93" fmla="*/ 472 h 472"/>
                <a:gd name="T94" fmla="*/ 2130 w 2520"/>
                <a:gd name="T95" fmla="*/ 389 h 472"/>
                <a:gd name="T96" fmla="*/ 2350 w 2520"/>
                <a:gd name="T97" fmla="*/ 389 h 472"/>
                <a:gd name="T98" fmla="*/ 2378 w 2520"/>
                <a:gd name="T99" fmla="*/ 472 h 472"/>
                <a:gd name="T100" fmla="*/ 2520 w 2520"/>
                <a:gd name="T101" fmla="*/ 472 h 472"/>
                <a:gd name="T102" fmla="*/ 2333 w 2520"/>
                <a:gd name="T103" fmla="*/ 1 h 472"/>
                <a:gd name="T104" fmla="*/ 2155 w 2520"/>
                <a:gd name="T105" fmla="*/ 1 h 472"/>
                <a:gd name="T106" fmla="*/ 2241 w 2520"/>
                <a:gd name="T107" fmla="*/ 87 h 472"/>
                <a:gd name="T108" fmla="*/ 2322 w 2520"/>
                <a:gd name="T109" fmla="*/ 307 h 472"/>
                <a:gd name="T110" fmla="*/ 2158 w 2520"/>
                <a:gd name="T111" fmla="*/ 307 h 472"/>
                <a:gd name="T112" fmla="*/ 2241 w 2520"/>
                <a:gd name="T113" fmla="*/ 87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0" h="472">
                  <a:moveTo>
                    <a:pt x="1048" y="0"/>
                  </a:moveTo>
                  <a:cubicBezTo>
                    <a:pt x="1048" y="472"/>
                    <a:pt x="1048" y="472"/>
                    <a:pt x="1048" y="472"/>
                  </a:cubicBezTo>
                  <a:cubicBezTo>
                    <a:pt x="1181" y="472"/>
                    <a:pt x="1181" y="472"/>
                    <a:pt x="1181" y="472"/>
                  </a:cubicBezTo>
                  <a:cubicBezTo>
                    <a:pt x="1181" y="0"/>
                    <a:pt x="1181" y="0"/>
                    <a:pt x="1181" y="0"/>
                  </a:cubicBezTo>
                  <a:lnTo>
                    <a:pt x="1048" y="0"/>
                  </a:lnTo>
                  <a:close/>
                  <a:moveTo>
                    <a:pt x="0" y="0"/>
                  </a:moveTo>
                  <a:cubicBezTo>
                    <a:pt x="0" y="472"/>
                    <a:pt x="0" y="472"/>
                    <a:pt x="0" y="472"/>
                  </a:cubicBezTo>
                  <a:cubicBezTo>
                    <a:pt x="134" y="472"/>
                    <a:pt x="134" y="472"/>
                    <a:pt x="134" y="472"/>
                  </a:cubicBezTo>
                  <a:cubicBezTo>
                    <a:pt x="134" y="105"/>
                    <a:pt x="134" y="105"/>
                    <a:pt x="134" y="105"/>
                  </a:cubicBezTo>
                  <a:cubicBezTo>
                    <a:pt x="239" y="106"/>
                    <a:pt x="239" y="106"/>
                    <a:pt x="239" y="106"/>
                  </a:cubicBezTo>
                  <a:cubicBezTo>
                    <a:pt x="273" y="106"/>
                    <a:pt x="297" y="114"/>
                    <a:pt x="314" y="132"/>
                  </a:cubicBezTo>
                  <a:cubicBezTo>
                    <a:pt x="335" y="154"/>
                    <a:pt x="344" y="191"/>
                    <a:pt x="344" y="257"/>
                  </a:cubicBezTo>
                  <a:cubicBezTo>
                    <a:pt x="344" y="472"/>
                    <a:pt x="344" y="472"/>
                    <a:pt x="344" y="472"/>
                  </a:cubicBezTo>
                  <a:cubicBezTo>
                    <a:pt x="474" y="472"/>
                    <a:pt x="474" y="472"/>
                    <a:pt x="474" y="472"/>
                  </a:cubicBezTo>
                  <a:cubicBezTo>
                    <a:pt x="474" y="211"/>
                    <a:pt x="474" y="211"/>
                    <a:pt x="474" y="211"/>
                  </a:cubicBezTo>
                  <a:cubicBezTo>
                    <a:pt x="474" y="25"/>
                    <a:pt x="355" y="0"/>
                    <a:pt x="239" y="0"/>
                  </a:cubicBezTo>
                  <a:lnTo>
                    <a:pt x="0" y="0"/>
                  </a:lnTo>
                  <a:close/>
                  <a:moveTo>
                    <a:pt x="1262" y="0"/>
                  </a:moveTo>
                  <a:cubicBezTo>
                    <a:pt x="1262" y="472"/>
                    <a:pt x="1262" y="472"/>
                    <a:pt x="1262" y="472"/>
                  </a:cubicBezTo>
                  <a:cubicBezTo>
                    <a:pt x="1479" y="472"/>
                    <a:pt x="1479" y="472"/>
                    <a:pt x="1479" y="472"/>
                  </a:cubicBezTo>
                  <a:cubicBezTo>
                    <a:pt x="1594" y="472"/>
                    <a:pt x="1631" y="453"/>
                    <a:pt x="1672" y="410"/>
                  </a:cubicBezTo>
                  <a:cubicBezTo>
                    <a:pt x="1701" y="380"/>
                    <a:pt x="1719" y="314"/>
                    <a:pt x="1719" y="242"/>
                  </a:cubicBezTo>
                  <a:cubicBezTo>
                    <a:pt x="1719" y="175"/>
                    <a:pt x="1704" y="116"/>
                    <a:pt x="1676" y="79"/>
                  </a:cubicBezTo>
                  <a:cubicBezTo>
                    <a:pt x="1627" y="13"/>
                    <a:pt x="1556" y="0"/>
                    <a:pt x="1449" y="0"/>
                  </a:cubicBezTo>
                  <a:lnTo>
                    <a:pt x="1262" y="0"/>
                  </a:lnTo>
                  <a:close/>
                  <a:moveTo>
                    <a:pt x="1395" y="103"/>
                  </a:moveTo>
                  <a:cubicBezTo>
                    <a:pt x="1452" y="103"/>
                    <a:pt x="1452" y="103"/>
                    <a:pt x="1452" y="103"/>
                  </a:cubicBezTo>
                  <a:cubicBezTo>
                    <a:pt x="1535" y="103"/>
                    <a:pt x="1589" y="140"/>
                    <a:pt x="1589" y="237"/>
                  </a:cubicBezTo>
                  <a:cubicBezTo>
                    <a:pt x="1589" y="334"/>
                    <a:pt x="1535" y="372"/>
                    <a:pt x="1452" y="372"/>
                  </a:cubicBezTo>
                  <a:cubicBezTo>
                    <a:pt x="1395" y="372"/>
                    <a:pt x="1395" y="372"/>
                    <a:pt x="1395" y="372"/>
                  </a:cubicBezTo>
                  <a:lnTo>
                    <a:pt x="1395" y="103"/>
                  </a:lnTo>
                  <a:close/>
                  <a:moveTo>
                    <a:pt x="856" y="0"/>
                  </a:moveTo>
                  <a:cubicBezTo>
                    <a:pt x="745" y="374"/>
                    <a:pt x="745" y="374"/>
                    <a:pt x="745" y="374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646" y="472"/>
                    <a:pt x="646" y="472"/>
                    <a:pt x="646" y="472"/>
                  </a:cubicBezTo>
                  <a:cubicBezTo>
                    <a:pt x="838" y="472"/>
                    <a:pt x="838" y="472"/>
                    <a:pt x="838" y="472"/>
                  </a:cubicBezTo>
                  <a:cubicBezTo>
                    <a:pt x="992" y="0"/>
                    <a:pt x="992" y="0"/>
                    <a:pt x="992" y="0"/>
                  </a:cubicBezTo>
                  <a:lnTo>
                    <a:pt x="856" y="0"/>
                  </a:lnTo>
                  <a:close/>
                  <a:moveTo>
                    <a:pt x="1781" y="472"/>
                  </a:moveTo>
                  <a:cubicBezTo>
                    <a:pt x="1915" y="472"/>
                    <a:pt x="1915" y="472"/>
                    <a:pt x="1915" y="472"/>
                  </a:cubicBezTo>
                  <a:cubicBezTo>
                    <a:pt x="1915" y="0"/>
                    <a:pt x="1915" y="0"/>
                    <a:pt x="1915" y="0"/>
                  </a:cubicBezTo>
                  <a:cubicBezTo>
                    <a:pt x="1781" y="0"/>
                    <a:pt x="1781" y="0"/>
                    <a:pt x="1781" y="0"/>
                  </a:cubicBezTo>
                  <a:lnTo>
                    <a:pt x="1781" y="472"/>
                  </a:lnTo>
                  <a:close/>
                  <a:moveTo>
                    <a:pt x="2155" y="1"/>
                  </a:moveTo>
                  <a:cubicBezTo>
                    <a:pt x="1969" y="472"/>
                    <a:pt x="1969" y="472"/>
                    <a:pt x="1969" y="472"/>
                  </a:cubicBezTo>
                  <a:cubicBezTo>
                    <a:pt x="2100" y="472"/>
                    <a:pt x="2100" y="472"/>
                    <a:pt x="2100" y="472"/>
                  </a:cubicBezTo>
                  <a:cubicBezTo>
                    <a:pt x="2130" y="389"/>
                    <a:pt x="2130" y="389"/>
                    <a:pt x="2130" y="389"/>
                  </a:cubicBezTo>
                  <a:cubicBezTo>
                    <a:pt x="2350" y="389"/>
                    <a:pt x="2350" y="389"/>
                    <a:pt x="2350" y="389"/>
                  </a:cubicBezTo>
                  <a:cubicBezTo>
                    <a:pt x="2378" y="472"/>
                    <a:pt x="2378" y="472"/>
                    <a:pt x="2378" y="472"/>
                  </a:cubicBezTo>
                  <a:cubicBezTo>
                    <a:pt x="2520" y="472"/>
                    <a:pt x="2520" y="472"/>
                    <a:pt x="2520" y="472"/>
                  </a:cubicBezTo>
                  <a:cubicBezTo>
                    <a:pt x="2333" y="1"/>
                    <a:pt x="2333" y="1"/>
                    <a:pt x="2333" y="1"/>
                  </a:cubicBezTo>
                  <a:lnTo>
                    <a:pt x="2155" y="1"/>
                  </a:lnTo>
                  <a:close/>
                  <a:moveTo>
                    <a:pt x="2241" y="87"/>
                  </a:moveTo>
                  <a:cubicBezTo>
                    <a:pt x="2322" y="307"/>
                    <a:pt x="2322" y="307"/>
                    <a:pt x="2322" y="307"/>
                  </a:cubicBezTo>
                  <a:cubicBezTo>
                    <a:pt x="2158" y="307"/>
                    <a:pt x="2158" y="307"/>
                    <a:pt x="2158" y="307"/>
                  </a:cubicBezTo>
                  <a:lnTo>
                    <a:pt x="2241" y="8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677492" y="-1417931"/>
              <a:ext cx="877396" cy="582700"/>
            </a:xfrm>
            <a:custGeom>
              <a:avLst/>
              <a:gdLst>
                <a:gd name="T0" fmla="*/ 405 w 1086"/>
                <a:gd name="T1" fmla="*/ 214 h 718"/>
                <a:gd name="T2" fmla="*/ 405 w 1086"/>
                <a:gd name="T3" fmla="*/ 149 h 718"/>
                <a:gd name="T4" fmla="*/ 424 w 1086"/>
                <a:gd name="T5" fmla="*/ 148 h 718"/>
                <a:gd name="T6" fmla="*/ 719 w 1086"/>
                <a:gd name="T7" fmla="*/ 301 h 718"/>
                <a:gd name="T8" fmla="*/ 458 w 1086"/>
                <a:gd name="T9" fmla="*/ 476 h 718"/>
                <a:gd name="T10" fmla="*/ 405 w 1086"/>
                <a:gd name="T11" fmla="*/ 467 h 718"/>
                <a:gd name="T12" fmla="*/ 405 w 1086"/>
                <a:gd name="T13" fmla="*/ 270 h 718"/>
                <a:gd name="T14" fmla="*/ 530 w 1086"/>
                <a:gd name="T15" fmla="*/ 378 h 718"/>
                <a:gd name="T16" fmla="*/ 622 w 1086"/>
                <a:gd name="T17" fmla="*/ 300 h 718"/>
                <a:gd name="T18" fmla="*/ 441 w 1086"/>
                <a:gd name="T19" fmla="*/ 212 h 718"/>
                <a:gd name="T20" fmla="*/ 405 w 1086"/>
                <a:gd name="T21" fmla="*/ 214 h 718"/>
                <a:gd name="T22" fmla="*/ 405 w 1086"/>
                <a:gd name="T23" fmla="*/ 0 h 718"/>
                <a:gd name="T24" fmla="*/ 405 w 1086"/>
                <a:gd name="T25" fmla="*/ 97 h 718"/>
                <a:gd name="T26" fmla="*/ 424 w 1086"/>
                <a:gd name="T27" fmla="*/ 95 h 718"/>
                <a:gd name="T28" fmla="*/ 832 w 1086"/>
                <a:gd name="T29" fmla="*/ 298 h 718"/>
                <a:gd name="T30" fmla="*/ 455 w 1086"/>
                <a:gd name="T31" fmla="*/ 523 h 718"/>
                <a:gd name="T32" fmla="*/ 405 w 1086"/>
                <a:gd name="T33" fmla="*/ 518 h 718"/>
                <a:gd name="T34" fmla="*/ 405 w 1086"/>
                <a:gd name="T35" fmla="*/ 578 h 718"/>
                <a:gd name="T36" fmla="*/ 447 w 1086"/>
                <a:gd name="T37" fmla="*/ 581 h 718"/>
                <a:gd name="T38" fmla="*/ 881 w 1086"/>
                <a:gd name="T39" fmla="*/ 381 h 718"/>
                <a:gd name="T40" fmla="*/ 1004 w 1086"/>
                <a:gd name="T41" fmla="*/ 456 h 718"/>
                <a:gd name="T42" fmla="*/ 449 w 1086"/>
                <a:gd name="T43" fmla="*/ 636 h 718"/>
                <a:gd name="T44" fmla="*/ 405 w 1086"/>
                <a:gd name="T45" fmla="*/ 634 h 718"/>
                <a:gd name="T46" fmla="*/ 405 w 1086"/>
                <a:gd name="T47" fmla="*/ 718 h 718"/>
                <a:gd name="T48" fmla="*/ 1086 w 1086"/>
                <a:gd name="T49" fmla="*/ 718 h 718"/>
                <a:gd name="T50" fmla="*/ 1086 w 1086"/>
                <a:gd name="T51" fmla="*/ 0 h 718"/>
                <a:gd name="T52" fmla="*/ 405 w 1086"/>
                <a:gd name="T53" fmla="*/ 0 h 718"/>
                <a:gd name="T54" fmla="*/ 405 w 1086"/>
                <a:gd name="T55" fmla="*/ 467 h 718"/>
                <a:gd name="T56" fmla="*/ 405 w 1086"/>
                <a:gd name="T57" fmla="*/ 518 h 718"/>
                <a:gd name="T58" fmla="*/ 194 w 1086"/>
                <a:gd name="T59" fmla="*/ 317 h 718"/>
                <a:gd name="T60" fmla="*/ 405 w 1086"/>
                <a:gd name="T61" fmla="*/ 214 h 718"/>
                <a:gd name="T62" fmla="*/ 405 w 1086"/>
                <a:gd name="T63" fmla="*/ 270 h 718"/>
                <a:gd name="T64" fmla="*/ 405 w 1086"/>
                <a:gd name="T65" fmla="*/ 270 h 718"/>
                <a:gd name="T66" fmla="*/ 281 w 1086"/>
                <a:gd name="T67" fmla="*/ 327 h 718"/>
                <a:gd name="T68" fmla="*/ 405 w 1086"/>
                <a:gd name="T69" fmla="*/ 467 h 718"/>
                <a:gd name="T70" fmla="*/ 111 w 1086"/>
                <a:gd name="T71" fmla="*/ 309 h 718"/>
                <a:gd name="T72" fmla="*/ 405 w 1086"/>
                <a:gd name="T73" fmla="*/ 149 h 718"/>
                <a:gd name="T74" fmla="*/ 405 w 1086"/>
                <a:gd name="T75" fmla="*/ 97 h 718"/>
                <a:gd name="T76" fmla="*/ 0 w 1086"/>
                <a:gd name="T77" fmla="*/ 298 h 718"/>
                <a:gd name="T78" fmla="*/ 405 w 1086"/>
                <a:gd name="T79" fmla="*/ 634 h 718"/>
                <a:gd name="T80" fmla="*/ 405 w 1086"/>
                <a:gd name="T81" fmla="*/ 578 h 718"/>
                <a:gd name="T82" fmla="*/ 111 w 1086"/>
                <a:gd name="T83" fmla="*/ 309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86" h="718">
                  <a:moveTo>
                    <a:pt x="405" y="214"/>
                  </a:moveTo>
                  <a:cubicBezTo>
                    <a:pt x="405" y="149"/>
                    <a:pt x="405" y="149"/>
                    <a:pt x="405" y="149"/>
                  </a:cubicBezTo>
                  <a:cubicBezTo>
                    <a:pt x="412" y="149"/>
                    <a:pt x="418" y="148"/>
                    <a:pt x="424" y="148"/>
                  </a:cubicBezTo>
                  <a:cubicBezTo>
                    <a:pt x="602" y="143"/>
                    <a:pt x="719" y="301"/>
                    <a:pt x="719" y="301"/>
                  </a:cubicBezTo>
                  <a:cubicBezTo>
                    <a:pt x="719" y="301"/>
                    <a:pt x="593" y="476"/>
                    <a:pt x="458" y="476"/>
                  </a:cubicBezTo>
                  <a:cubicBezTo>
                    <a:pt x="438" y="476"/>
                    <a:pt x="421" y="472"/>
                    <a:pt x="405" y="467"/>
                  </a:cubicBezTo>
                  <a:cubicBezTo>
                    <a:pt x="405" y="270"/>
                    <a:pt x="405" y="270"/>
                    <a:pt x="405" y="270"/>
                  </a:cubicBezTo>
                  <a:cubicBezTo>
                    <a:pt x="474" y="279"/>
                    <a:pt x="488" y="309"/>
                    <a:pt x="530" y="378"/>
                  </a:cubicBezTo>
                  <a:cubicBezTo>
                    <a:pt x="622" y="300"/>
                    <a:pt x="622" y="300"/>
                    <a:pt x="622" y="300"/>
                  </a:cubicBezTo>
                  <a:cubicBezTo>
                    <a:pt x="622" y="300"/>
                    <a:pt x="555" y="212"/>
                    <a:pt x="441" y="212"/>
                  </a:cubicBezTo>
                  <a:cubicBezTo>
                    <a:pt x="429" y="212"/>
                    <a:pt x="417" y="213"/>
                    <a:pt x="405" y="214"/>
                  </a:cubicBezTo>
                  <a:moveTo>
                    <a:pt x="405" y="0"/>
                  </a:moveTo>
                  <a:cubicBezTo>
                    <a:pt x="405" y="97"/>
                    <a:pt x="405" y="97"/>
                    <a:pt x="405" y="97"/>
                  </a:cubicBezTo>
                  <a:cubicBezTo>
                    <a:pt x="412" y="96"/>
                    <a:pt x="418" y="96"/>
                    <a:pt x="424" y="95"/>
                  </a:cubicBezTo>
                  <a:cubicBezTo>
                    <a:pt x="671" y="87"/>
                    <a:pt x="832" y="298"/>
                    <a:pt x="832" y="298"/>
                  </a:cubicBezTo>
                  <a:cubicBezTo>
                    <a:pt x="832" y="298"/>
                    <a:pt x="647" y="523"/>
                    <a:pt x="455" y="523"/>
                  </a:cubicBezTo>
                  <a:cubicBezTo>
                    <a:pt x="437" y="523"/>
                    <a:pt x="421" y="521"/>
                    <a:pt x="405" y="518"/>
                  </a:cubicBezTo>
                  <a:cubicBezTo>
                    <a:pt x="405" y="578"/>
                    <a:pt x="405" y="578"/>
                    <a:pt x="405" y="578"/>
                  </a:cubicBezTo>
                  <a:cubicBezTo>
                    <a:pt x="419" y="580"/>
                    <a:pt x="432" y="581"/>
                    <a:pt x="447" y="581"/>
                  </a:cubicBezTo>
                  <a:cubicBezTo>
                    <a:pt x="626" y="581"/>
                    <a:pt x="755" y="489"/>
                    <a:pt x="881" y="381"/>
                  </a:cubicBezTo>
                  <a:cubicBezTo>
                    <a:pt x="902" y="398"/>
                    <a:pt x="987" y="438"/>
                    <a:pt x="1004" y="456"/>
                  </a:cubicBezTo>
                  <a:cubicBezTo>
                    <a:pt x="885" y="556"/>
                    <a:pt x="607" y="636"/>
                    <a:pt x="449" y="636"/>
                  </a:cubicBezTo>
                  <a:cubicBezTo>
                    <a:pt x="434" y="636"/>
                    <a:pt x="420" y="636"/>
                    <a:pt x="405" y="634"/>
                  </a:cubicBezTo>
                  <a:cubicBezTo>
                    <a:pt x="405" y="718"/>
                    <a:pt x="405" y="718"/>
                    <a:pt x="405" y="718"/>
                  </a:cubicBezTo>
                  <a:cubicBezTo>
                    <a:pt x="1086" y="718"/>
                    <a:pt x="1086" y="718"/>
                    <a:pt x="1086" y="718"/>
                  </a:cubicBezTo>
                  <a:cubicBezTo>
                    <a:pt x="1086" y="0"/>
                    <a:pt x="1086" y="0"/>
                    <a:pt x="1086" y="0"/>
                  </a:cubicBezTo>
                  <a:lnTo>
                    <a:pt x="405" y="0"/>
                  </a:lnTo>
                  <a:close/>
                  <a:moveTo>
                    <a:pt x="405" y="467"/>
                  </a:moveTo>
                  <a:cubicBezTo>
                    <a:pt x="405" y="518"/>
                    <a:pt x="405" y="518"/>
                    <a:pt x="405" y="518"/>
                  </a:cubicBezTo>
                  <a:cubicBezTo>
                    <a:pt x="240" y="489"/>
                    <a:pt x="194" y="317"/>
                    <a:pt x="194" y="317"/>
                  </a:cubicBezTo>
                  <a:cubicBezTo>
                    <a:pt x="194" y="317"/>
                    <a:pt x="273" y="228"/>
                    <a:pt x="405" y="214"/>
                  </a:cubicBezTo>
                  <a:cubicBezTo>
                    <a:pt x="405" y="270"/>
                    <a:pt x="405" y="270"/>
                    <a:pt x="405" y="270"/>
                  </a:cubicBezTo>
                  <a:cubicBezTo>
                    <a:pt x="405" y="270"/>
                    <a:pt x="405" y="270"/>
                    <a:pt x="405" y="270"/>
                  </a:cubicBezTo>
                  <a:cubicBezTo>
                    <a:pt x="336" y="262"/>
                    <a:pt x="281" y="327"/>
                    <a:pt x="281" y="327"/>
                  </a:cubicBezTo>
                  <a:cubicBezTo>
                    <a:pt x="281" y="327"/>
                    <a:pt x="312" y="436"/>
                    <a:pt x="405" y="467"/>
                  </a:cubicBezTo>
                  <a:moveTo>
                    <a:pt x="111" y="309"/>
                  </a:moveTo>
                  <a:cubicBezTo>
                    <a:pt x="111" y="309"/>
                    <a:pt x="209" y="164"/>
                    <a:pt x="405" y="149"/>
                  </a:cubicBezTo>
                  <a:cubicBezTo>
                    <a:pt x="405" y="97"/>
                    <a:pt x="405" y="97"/>
                    <a:pt x="405" y="97"/>
                  </a:cubicBezTo>
                  <a:cubicBezTo>
                    <a:pt x="188" y="114"/>
                    <a:pt x="0" y="298"/>
                    <a:pt x="0" y="298"/>
                  </a:cubicBezTo>
                  <a:cubicBezTo>
                    <a:pt x="0" y="298"/>
                    <a:pt x="106" y="606"/>
                    <a:pt x="405" y="634"/>
                  </a:cubicBezTo>
                  <a:cubicBezTo>
                    <a:pt x="405" y="578"/>
                    <a:pt x="405" y="578"/>
                    <a:pt x="405" y="578"/>
                  </a:cubicBezTo>
                  <a:cubicBezTo>
                    <a:pt x="186" y="551"/>
                    <a:pt x="111" y="309"/>
                    <a:pt x="111" y="3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950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 -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436475" cy="699452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2436475" cy="6994525"/>
          </a:xfrm>
          <a:prstGeom prst="rect">
            <a:avLst/>
          </a:prstGeom>
          <a:gradFill>
            <a:gsLst>
              <a:gs pos="0">
                <a:schemeClr val="bg1">
                  <a:alpha val="58000"/>
                </a:schemeClr>
              </a:gs>
              <a:gs pos="58000">
                <a:schemeClr val="bg1">
                  <a:alpha val="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4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90327" y="2025193"/>
            <a:ext cx="9861304" cy="467179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90000"/>
              </a:lnSpc>
              <a:spcBef>
                <a:spcPts val="680"/>
              </a:spcBef>
              <a:spcAft>
                <a:spcPts val="340"/>
              </a:spcAft>
              <a:buFontTx/>
              <a:buNone/>
              <a:defRPr sz="2040" b="0">
                <a:solidFill>
                  <a:schemeClr val="tx1"/>
                </a:solidFill>
                <a:latin typeface="Trebuchet MS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05" name="Title 304"/>
          <p:cNvSpPr>
            <a:spLocks noGrp="1"/>
          </p:cNvSpPr>
          <p:nvPr userDrawn="1">
            <p:ph type="title" hasCustomPrompt="1"/>
          </p:nvPr>
        </p:nvSpPr>
        <p:spPr>
          <a:xfrm>
            <a:off x="545912" y="951105"/>
            <a:ext cx="9905091" cy="1113801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5213" b="1" cap="all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184" y="2863946"/>
            <a:ext cx="1843655" cy="397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76" y="4395789"/>
            <a:ext cx="12433300" cy="2601913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1" y="5843588"/>
            <a:ext cx="12433301" cy="1154113"/>
          </a:xfrm>
          <a:prstGeom prst="rect">
            <a:avLst/>
          </a:prstGeom>
          <a:solidFill>
            <a:srgbClr val="00188F"/>
          </a:solidFill>
          <a:ln>
            <a:noFill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76" y="3409951"/>
            <a:ext cx="12430127" cy="282575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-318"/>
            <a:ext cx="12435840" cy="699516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3954458"/>
            <a:ext cx="6399213" cy="1830388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0058336" cy="1837298"/>
          </a:xfrm>
          <a:noFill/>
        </p:spPr>
        <p:txBody>
          <a:bodyPr lIns="146304" tIns="91440" rIns="146304" bIns="91440" anchor="t" anchorCtr="0"/>
          <a:lstStyle>
            <a:lvl1pPr>
              <a:defRPr sz="59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58332" y="6182441"/>
            <a:ext cx="1552931" cy="332660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76" y="4395789"/>
            <a:ext cx="12433300" cy="260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749755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-1.34362E-6 L -3.90605E-7 -1.34362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</p:bldLst>
  </p:timing>
  <p:extLst mod="1">
    <p:ext uri="{DCECCB84-F9BA-43D5-87BE-67443E8EF086}">
      <p15:sldGuideLst xmlns:p15="http://schemas.microsoft.com/office/powerpoint/2012/main">
        <p15:guide id="1" orient="horz" pos="4494">
          <p15:clr>
            <a:srgbClr val="C35EA4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799" b="0" kern="1200" cap="none" spc="-100" baseline="0" dirty="0">
                <a:ln w="3175">
                  <a:noFill/>
                </a:ln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69068375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736938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3294268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04083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04083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5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182217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108517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5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108517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5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51648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95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26" Type="http://schemas.openxmlformats.org/officeDocument/2006/relationships/image" Target="../media/image17.png"/><Relationship Id="rId3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image" Target="../media/image16.png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24" Type="http://schemas.openxmlformats.org/officeDocument/2006/relationships/theme" Target="../theme/theme7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13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theme" Target="../theme/theme8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50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124 B:16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295" r:id="rId2"/>
    <p:sldLayoutId id="2147484240" r:id="rId3"/>
    <p:sldLayoutId id="2147484296" r:id="rId4"/>
    <p:sldLayoutId id="2147484241" r:id="rId5"/>
    <p:sldLayoutId id="2147484297" r:id="rId6"/>
    <p:sldLayoutId id="2147484244" r:id="rId7"/>
    <p:sldLayoutId id="2147484298" r:id="rId8"/>
    <p:sldLayoutId id="2147484245" r:id="rId9"/>
    <p:sldLayoutId id="2147484247" r:id="rId10"/>
    <p:sldLayoutId id="2147484331" r:id="rId11"/>
    <p:sldLayoutId id="2147484249" r:id="rId12"/>
    <p:sldLayoutId id="2147484301" r:id="rId13"/>
    <p:sldLayoutId id="2147484251" r:id="rId14"/>
    <p:sldLayoutId id="2147484252" r:id="rId15"/>
    <p:sldLayoutId id="2147484254" r:id="rId16"/>
    <p:sldLayoutId id="2147484257" r:id="rId17"/>
    <p:sldLayoutId id="2147484258" r:id="rId18"/>
    <p:sldLayoutId id="2147484260" r:id="rId19"/>
    <p:sldLayoutId id="2147484299" r:id="rId20"/>
    <p:sldLayoutId id="2147484263" r:id="rId21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 userDrawn="1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 userDrawn="1">
          <p15:clr>
            <a:srgbClr val="C35EA4"/>
          </p15:clr>
        </p15:guide>
        <p15:guide id="17" pos="7546" userDrawn="1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 userDrawn="1">
          <p15:clr>
            <a:srgbClr val="5ACBF0"/>
          </p15:clr>
        </p15:guide>
        <p15:guide id="25" orient="horz" pos="302" userDrawn="1">
          <p15:clr>
            <a:srgbClr val="C35EA4"/>
          </p15:clr>
        </p15:guide>
        <p15:guide id="26" orient="horz" pos="4104" userDrawn="1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2"/>
            <a:ext cx="11887198" cy="2134413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342834" marR="0" lvl="0" indent="-342834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Click to edit Master text styles</a:t>
            </a:r>
          </a:p>
          <a:p>
            <a:pPr marL="584088" marR="0" lvl="1" indent="-241253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4" y="-8395"/>
            <a:ext cx="955641" cy="5775363"/>
            <a:chOff x="12618967" y="-8396"/>
            <a:chExt cx="955641" cy="5775363"/>
          </a:xfrm>
        </p:grpSpPr>
        <p:grpSp>
          <p:nvGrpSpPr>
            <p:cNvPr id="19" name="Group 18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25" name="Rectangle 24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27" name="Rectangle 26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28" name="Rectangle 27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29" name="Rectangle 28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  <p:sp>
            <p:nvSpPr>
              <p:cNvPr id="30" name="Rectangle 29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</p:grpSp>
        <p:sp>
          <p:nvSpPr>
            <p:cNvPr id="20" name="TextBox 19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563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21" name="TextBox 20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563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2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Green </a:t>
              </a:r>
            </a:p>
            <a:p>
              <a:pPr marL="0" algn="l" defTabSz="9322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0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R:168 G:216 B:10</a:t>
              </a:r>
            </a:p>
          </p:txBody>
        </p:sp>
        <p:sp>
          <p:nvSpPr>
            <p:cNvPr id="31" name="Rectangle 30"/>
            <p:cNvSpPr/>
            <p:nvPr userDrawn="1"/>
          </p:nvSpPr>
          <p:spPr bwMode="auto">
            <a:xfrm rot="5400000">
              <a:off x="12328888" y="4270558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2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293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2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293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092527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3" r:id="rId15"/>
    <p:sldLayoutId id="2147484564" r:id="rId16"/>
    <p:sldLayoutId id="2147484565" r:id="rId17"/>
    <p:sldLayoutId id="2147484566" r:id="rId18"/>
    <p:sldLayoutId id="2147484567" r:id="rId1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3999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24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342900" marR="0" lvl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Click to edit Master text styles</a:t>
            </a:r>
          </a:p>
          <a:p>
            <a:pPr marL="584200" marR="0" lvl="1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19" name="Group 18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25" name="Rectangle 24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27" name="Rectangle 26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28" name="Rectangle 27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29" name="Rectangle 28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  <p:sp>
            <p:nvSpPr>
              <p:cNvPr id="30" name="Rectangle 29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</p:grpSp>
        <p:sp>
          <p:nvSpPr>
            <p:cNvPr id="20" name="TextBox 19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21" name="TextBox 20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Green </a:t>
              </a:r>
            </a:p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0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R:168 G:216 B:10</a:t>
              </a:r>
            </a:p>
          </p:txBody>
        </p:sp>
        <p:sp>
          <p:nvSpPr>
            <p:cNvPr id="31" name="Rectangle 30"/>
            <p:cNvSpPr/>
            <p:nvPr userDrawn="1"/>
          </p:nvSpPr>
          <p:spPr bwMode="auto">
            <a:xfrm rot="5400000">
              <a:off x="12328888" y="4270558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90329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39" r:id="rId1"/>
    <p:sldLayoutId id="214748434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32" r:id="rId8"/>
    <p:sldLayoutId id="2147484333" r:id="rId9"/>
    <p:sldLayoutId id="2147484334" r:id="rId10"/>
    <p:sldLayoutId id="2147484335" r:id="rId11"/>
    <p:sldLayoutId id="2147484336" r:id="rId12"/>
    <p:sldLayoutId id="2147484323" r:id="rId13"/>
    <p:sldLayoutId id="2147484324" r:id="rId14"/>
    <p:sldLayoutId id="2147484325" r:id="rId15"/>
    <p:sldLayoutId id="2147484326" r:id="rId16"/>
    <p:sldLayoutId id="2147484327" r:id="rId17"/>
    <p:sldLayoutId id="2147484328" r:id="rId18"/>
    <p:sldLayoutId id="2147484393" r:id="rId19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40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24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 userDrawn="1">
          <p15:clr>
            <a:srgbClr val="C35EA4"/>
          </p15:clr>
        </p15:guide>
        <p15:guide id="17" pos="7546" userDrawn="1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 userDrawn="1">
          <p15:clr>
            <a:srgbClr val="C35EA4"/>
          </p15:clr>
        </p15:guide>
        <p15:guide id="26" orient="horz" pos="4104" userDrawn="1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50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124 B:16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2552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  <p:sldLayoutId id="2147484350" r:id="rId8"/>
    <p:sldLayoutId id="2147484351" r:id="rId9"/>
    <p:sldLayoutId id="2147484352" r:id="rId10"/>
    <p:sldLayoutId id="2147484353" r:id="rId11"/>
    <p:sldLayoutId id="2147484354" r:id="rId12"/>
    <p:sldLayoutId id="2147484355" r:id="rId13"/>
    <p:sldLayoutId id="2147484356" r:id="rId14"/>
    <p:sldLayoutId id="2147484357" r:id="rId15"/>
    <p:sldLayoutId id="2147484358" r:id="rId16"/>
    <p:sldLayoutId id="2147484359" r:id="rId17"/>
    <p:sldLayoutId id="2147484360" r:id="rId18"/>
    <p:sldLayoutId id="2147484361" r:id="rId19"/>
    <p:sldLayoutId id="2147484362" r:id="rId20"/>
    <p:sldLayoutId id="2147484363" r:id="rId21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kumimoji="0" lang="en-US" sz="5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algn="l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marL="0" marR="0" lvl="0" indent="0" algn="l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marL="0" marR="0" lvl="0" indent="0" algn="l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R:168 G:0 B:0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marL="0" marR="0" lvl="0" indent="0" algn="l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R:16 G:124 B:16</a:t>
              </a: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marL="0" marR="0" lvl="0" indent="0" algn="l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4640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6" r:id="rId1"/>
    <p:sldLayoutId id="2147484367" r:id="rId2"/>
    <p:sldLayoutId id="2147484368" r:id="rId3"/>
    <p:sldLayoutId id="2147484369" r:id="rId4"/>
    <p:sldLayoutId id="2147484370" r:id="rId5"/>
    <p:sldLayoutId id="2147484371" r:id="rId6"/>
    <p:sldLayoutId id="2147484372" r:id="rId7"/>
    <p:sldLayoutId id="2147484373" r:id="rId8"/>
    <p:sldLayoutId id="2147484374" r:id="rId9"/>
    <p:sldLayoutId id="2147484375" r:id="rId10"/>
    <p:sldLayoutId id="2147484376" r:id="rId11"/>
    <p:sldLayoutId id="2147484377" r:id="rId12"/>
    <p:sldLayoutId id="2147484378" r:id="rId13"/>
    <p:sldLayoutId id="2147484379" r:id="rId14"/>
    <p:sldLayoutId id="2147484380" r:id="rId15"/>
    <p:sldLayoutId id="2147484381" r:id="rId16"/>
    <p:sldLayoutId id="2147484382" r:id="rId17"/>
    <p:sldLayoutId id="2147484383" r:id="rId18"/>
    <p:sldLayoutId id="2147484384" r:id="rId19"/>
    <p:sldLayoutId id="2147484385" r:id="rId20"/>
    <p:sldLayoutId id="2147484386" r:id="rId21"/>
    <p:sldLayoutId id="2147484388" r:id="rId22"/>
    <p:sldLayoutId id="2147484389" r:id="rId23"/>
    <p:sldLayoutId id="2147484390" r:id="rId24"/>
    <p:sldLayoutId id="2147484392" r:id="rId2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2121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333969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96" r:id="rId1"/>
    <p:sldLayoutId id="2147484397" r:id="rId2"/>
    <p:sldLayoutId id="2147484398" r:id="rId3"/>
    <p:sldLayoutId id="2147484403" r:id="rId4"/>
    <p:sldLayoutId id="2147484406" r:id="rId5"/>
    <p:sldLayoutId id="2147484407" r:id="rId6"/>
    <p:sldLayoutId id="2147484408" r:id="rId7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 rot="5400000">
            <a:off x="9489150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221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22" r:id="rId1"/>
    <p:sldLayoutId id="2147484423" r:id="rId2"/>
    <p:sldLayoutId id="2147484424" r:id="rId3"/>
    <p:sldLayoutId id="2147484425" r:id="rId4"/>
    <p:sldLayoutId id="2147484426" r:id="rId5"/>
    <p:sldLayoutId id="2147484427" r:id="rId6"/>
    <p:sldLayoutId id="2147484428" r:id="rId7"/>
    <p:sldLayoutId id="2147484429" r:id="rId8"/>
    <p:sldLayoutId id="2147484430" r:id="rId9"/>
    <p:sldLayoutId id="2147484431" r:id="rId10"/>
    <p:sldLayoutId id="2147484432" r:id="rId11"/>
    <p:sldLayoutId id="2147484433" r:id="rId12"/>
    <p:sldLayoutId id="2147484434" r:id="rId13"/>
    <p:sldLayoutId id="2147484436" r:id="rId14"/>
    <p:sldLayoutId id="2147484437" r:id="rId15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532395" y="1944336"/>
            <a:ext cx="4298019" cy="409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724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84" r:id="rId1"/>
    <p:sldLayoutId id="2147484485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3" r:id="rId10"/>
    <p:sldLayoutId id="2147484494" r:id="rId11"/>
    <p:sldLayoutId id="2147484495" r:id="rId12"/>
    <p:sldLayoutId id="2147484496" r:id="rId13"/>
    <p:sldLayoutId id="2147484497" r:id="rId14"/>
    <p:sldLayoutId id="2147484498" r:id="rId15"/>
    <p:sldLayoutId id="2147484499" r:id="rId16"/>
    <p:sldLayoutId id="2147484500" r:id="rId17"/>
    <p:sldLayoutId id="2147484501" r:id="rId18"/>
    <p:sldLayoutId id="2147484502" r:id="rId19"/>
    <p:sldLayoutId id="2147484503" r:id="rId20"/>
    <p:sldLayoutId id="2147484504" r:id="rId21"/>
    <p:sldLayoutId id="2147484505" r:id="rId22"/>
    <p:sldLayoutId id="2147484507" r:id="rId23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100000"/>
        <a:buFontTx/>
        <a:buBlip>
          <a:blip r:embed="rId26"/>
        </a:buBlip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100000"/>
        <a:buFontTx/>
        <a:buBlip>
          <a:blip r:embed="rId26"/>
        </a:buBlip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100000"/>
        <a:buFontTx/>
        <a:buBlip>
          <a:blip r:embed="rId26"/>
        </a:buBlip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100000"/>
        <a:buFontTx/>
        <a:buBlip>
          <a:blip r:embed="rId26"/>
        </a:buBlip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100000"/>
        <a:buFontTx/>
        <a:buBlip>
          <a:blip r:embed="rId26"/>
        </a:buBlip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618964" y="-8395"/>
            <a:ext cx="955641" cy="5775361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20 B:215</a:t>
                </a:r>
                <a:endPara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88 B:242</a:t>
                </a:r>
                <a:endParaRPr lang="en-US" sz="500" dirty="0">
                  <a:gradFill>
                    <a:gsLst>
                      <a:gs pos="7965">
                        <a:srgbClr val="000000"/>
                      </a:gs>
                      <a:gs pos="28319">
                        <a:srgbClr val="00000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500" dirty="0">
                  <a:gradFill>
                    <a:gsLst>
                      <a:gs pos="92035">
                        <a:srgbClr val="505050"/>
                      </a:gs>
                      <a:gs pos="27000">
                        <a:srgbClr val="50505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32 B:80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80 G:80 B:80</a:t>
                </a:r>
                <a:endPara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15 G:115 B:115</a:t>
                </a:r>
                <a:endPara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6 G:124 B:16</a:t>
                </a:r>
                <a:endPara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condary colors (use only when</a:t>
              </a:r>
              <a:r>
                <a:rPr lang="en-US" sz="1000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necessary)</a:t>
              </a:r>
              <a:endPara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3731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  <p:sldLayoutId id="2147484517" r:id="rId9"/>
    <p:sldLayoutId id="2147484518" r:id="rId10"/>
    <p:sldLayoutId id="2147484519" r:id="rId11"/>
    <p:sldLayoutId id="2147484520" r:id="rId12"/>
    <p:sldLayoutId id="2147484521" r:id="rId13"/>
    <p:sldLayoutId id="2147484522" r:id="rId14"/>
    <p:sldLayoutId id="2147484523" r:id="rId15"/>
    <p:sldLayoutId id="2147484524" r:id="rId16"/>
    <p:sldLayoutId id="2147484525" r:id="rId17"/>
    <p:sldLayoutId id="2147484526" r:id="rId18"/>
    <p:sldLayoutId id="2147484527" r:id="rId19"/>
    <p:sldLayoutId id="2147484528" r:id="rId20"/>
    <p:sldLayoutId id="2147484529" r:id="rId21"/>
    <p:sldLayoutId id="2147484530" r:id="rId22"/>
    <p:sldLayoutId id="2147484531" r:id="rId23"/>
    <p:sldLayoutId id="2147484532" r:id="rId24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A57E08-95F6-4F6A-9D7E-039B075F4B1D}" type="datetimeFigureOut">
              <a:rPr lang="en-US" smtClean="0"/>
              <a:t>11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7CC5A6-7F3B-40DF-9864-2F2AC68AD9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414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540" r:id="rId7"/>
    <p:sldLayoutId id="2147484541" r:id="rId8"/>
    <p:sldLayoutId id="2147484542" r:id="rId9"/>
    <p:sldLayoutId id="2147484543" r:id="rId10"/>
    <p:sldLayoutId id="2147484544" r:id="rId11"/>
  </p:sldLayoutIdLst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8.xml"/><Relationship Id="rId4" Type="http://schemas.openxmlformats.org/officeDocument/2006/relationships/image" Target="../media/image4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3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3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3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3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3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3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3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zure/dcos-engine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38.xml"/><Relationship Id="rId6" Type="http://schemas.openxmlformats.org/officeDocument/2006/relationships/hyperlink" Target="https://github.com/apache/mesos" TargetMode="External"/><Relationship Id="rId5" Type="http://schemas.openxmlformats.org/officeDocument/2006/relationships/hyperlink" Target="https://github.com/dcos/dcos-windows" TargetMode="External"/><Relationship Id="rId4" Type="http://schemas.openxmlformats.org/officeDocument/2006/relationships/hyperlink" Target="https://github.com/dcos/dcos" TargetMode="Externa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38.xml"/><Relationship Id="rId5" Type="http://schemas.openxmlformats.org/officeDocument/2006/relationships/hyperlink" Target="https://github.com/Azure/dcos-engine/issues" TargetMode="External"/><Relationship Id="rId4" Type="http://schemas.openxmlformats.org/officeDocument/2006/relationships/hyperlink" Target="https://github.com/dmitsh/docs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zure/acs-engine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8.xml"/><Relationship Id="rId4" Type="http://schemas.openxmlformats.org/officeDocument/2006/relationships/image" Target="../media/image25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436475" cy="5859462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702" y="906462"/>
            <a:ext cx="9143936" cy="2601969"/>
          </a:xfrm>
        </p:spPr>
        <p:txBody>
          <a:bodyPr/>
          <a:lstStyle/>
          <a:p>
            <a:r>
              <a:rPr lang="en-US" dirty="0"/>
              <a:t>Deploying and managing DC/OS clusters in </a:t>
            </a:r>
            <a:br>
              <a:rPr lang="en-US" dirty="0"/>
            </a:br>
            <a:r>
              <a:rPr lang="en-US" dirty="0"/>
              <a:t>Microsoft Az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2" y="4278741"/>
            <a:ext cx="9296335" cy="1263430"/>
          </a:xfrm>
        </p:spPr>
        <p:txBody>
          <a:bodyPr/>
          <a:lstStyle/>
          <a:p>
            <a:r>
              <a:rPr lang="en-US" dirty="0"/>
              <a:t>Dmitry Shmulevich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3200" y="124983"/>
            <a:ext cx="1848279" cy="18482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961B672-1835-49DB-9E35-076C9C9E7C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85107" y="2201862"/>
            <a:ext cx="1624464" cy="184827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C15ED35-9517-4B35-9BED-A8BA5C77B3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12473" y="4278741"/>
            <a:ext cx="2557607" cy="1461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95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Running DC/OS on Windows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739FA442-6287-43D4-A71E-B422CB3BDCE6}"/>
              </a:ext>
            </a:extLst>
          </p:cNvPr>
          <p:cNvSpPr txBox="1">
            <a:spLocks/>
          </p:cNvSpPr>
          <p:nvPr/>
        </p:nvSpPr>
        <p:spPr>
          <a:xfrm>
            <a:off x="611963" y="1058861"/>
            <a:ext cx="11016474" cy="5715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32742" rtl="0" eaLnBrk="1" latinLnBrk="0" hangingPunct="1">
              <a:defRPr sz="122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orted DCOS services</a:t>
            </a:r>
          </a:p>
          <a:p>
            <a:pPr marL="923571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Mesos</a:t>
            </a:r>
          </a:p>
          <a:p>
            <a:pPr marL="923571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COS-Diagnostics</a:t>
            </a:r>
          </a:p>
          <a:p>
            <a:pPr marL="923571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COS-Metrics</a:t>
            </a:r>
          </a:p>
          <a:p>
            <a:pPr marL="923571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COS-Net</a:t>
            </a:r>
          </a:p>
          <a:p>
            <a:pPr marL="923571" lvl="1" indent="-457200">
              <a:buFont typeface="Arial" panose="020B0604020202020204" pitchFamily="34" charset="0"/>
              <a:buChar char="•"/>
            </a:pPr>
            <a:r>
              <a:rPr lang="en-US" sz="20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dminrouter</a:t>
            </a: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 (using Apache HTTP server instead of </a:t>
            </a:r>
            <a:r>
              <a:rPr lang="en-US" sz="20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nginx</a:t>
            </a: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)</a:t>
            </a:r>
          </a:p>
          <a:p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orted </a:t>
            </a:r>
            <a:r>
              <a:rPr lang="en-US" sz="24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systemd</a:t>
            </a: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 for service support on Window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orted </a:t>
            </a:r>
            <a:r>
              <a:rPr lang="en-US" sz="24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kgpanda</a:t>
            </a: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 build and deplo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Introduced Windows bootstrap nod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dded support for in-place upgrade of Windows nod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Implemented end-to-end CI/CD infrastructure for test, build, and validation</a:t>
            </a:r>
          </a:p>
        </p:txBody>
      </p:sp>
    </p:spTree>
    <p:extLst>
      <p:ext uri="{BB962C8B-B14F-4D97-AF65-F5344CB8AC3E}">
        <p14:creationId xmlns:p14="http://schemas.microsoft.com/office/powerpoint/2010/main" val="354275325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76857E4-C337-43C8-8EE9-C21C0B2674F4}"/>
              </a:ext>
            </a:extLst>
          </p:cNvPr>
          <p:cNvGrpSpPr/>
          <p:nvPr/>
        </p:nvGrpSpPr>
        <p:grpSpPr>
          <a:xfrm>
            <a:off x="605900" y="218030"/>
            <a:ext cx="11424002" cy="6421940"/>
            <a:chOff x="671803" y="316791"/>
            <a:chExt cx="11424002" cy="642194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CA7B469-A344-41C2-8119-48C84331D2CA}"/>
                </a:ext>
              </a:extLst>
            </p:cNvPr>
            <p:cNvSpPr/>
            <p:nvPr/>
          </p:nvSpPr>
          <p:spPr>
            <a:xfrm>
              <a:off x="677008" y="1291484"/>
              <a:ext cx="8934660" cy="5063221"/>
            </a:xfrm>
            <a:prstGeom prst="rect">
              <a:avLst/>
            </a:prstGeom>
            <a:solidFill>
              <a:schemeClr val="bg1"/>
            </a:solidFill>
            <a:ln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76B90F0-1030-4C57-9AD1-EF583AB7E711}"/>
                </a:ext>
              </a:extLst>
            </p:cNvPr>
            <p:cNvSpPr/>
            <p:nvPr/>
          </p:nvSpPr>
          <p:spPr>
            <a:xfrm>
              <a:off x="8029110" y="4548155"/>
              <a:ext cx="1272660" cy="8214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BCD6175-1F27-4157-AC5E-164907ABB0DD}"/>
                </a:ext>
              </a:extLst>
            </p:cNvPr>
            <p:cNvSpPr/>
            <p:nvPr/>
          </p:nvSpPr>
          <p:spPr>
            <a:xfrm>
              <a:off x="7957745" y="4461071"/>
              <a:ext cx="1272660" cy="8214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34DDA66-C91D-48B6-B429-0FB57426E693}"/>
                </a:ext>
              </a:extLst>
            </p:cNvPr>
            <p:cNvSpPr/>
            <p:nvPr/>
          </p:nvSpPr>
          <p:spPr>
            <a:xfrm>
              <a:off x="1076489" y="4402029"/>
              <a:ext cx="6717128" cy="190694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D779BBB-BBA2-43E7-B22D-D7C59BDF5A51}"/>
                </a:ext>
              </a:extLst>
            </p:cNvPr>
            <p:cNvSpPr/>
            <p:nvPr/>
          </p:nvSpPr>
          <p:spPr>
            <a:xfrm>
              <a:off x="1024594" y="4229740"/>
              <a:ext cx="6720254" cy="202014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84EF747-0280-4FE8-AD93-E9C52C382520}"/>
                </a:ext>
              </a:extLst>
            </p:cNvPr>
            <p:cNvSpPr/>
            <p:nvPr/>
          </p:nvSpPr>
          <p:spPr>
            <a:xfrm>
              <a:off x="1252152" y="1494881"/>
              <a:ext cx="6457339" cy="241703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DCOS Master node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5A5D74B-841D-4AD1-8319-C7F12B2F3AD3}"/>
                </a:ext>
              </a:extLst>
            </p:cNvPr>
            <p:cNvSpPr/>
            <p:nvPr/>
          </p:nvSpPr>
          <p:spPr>
            <a:xfrm>
              <a:off x="1328014" y="1419879"/>
              <a:ext cx="6294218" cy="24452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DCOS Master node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5E3A87B-2B3C-4572-87D0-1CCBA44D8BDB}"/>
                </a:ext>
              </a:extLst>
            </p:cNvPr>
            <p:cNvSpPr/>
            <p:nvPr/>
          </p:nvSpPr>
          <p:spPr>
            <a:xfrm>
              <a:off x="838069" y="1336963"/>
              <a:ext cx="6713622" cy="243876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DC/OS Linux Master node 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1733337-602C-404B-AC44-5BE25DA21F05}"/>
                </a:ext>
              </a:extLst>
            </p:cNvPr>
            <p:cNvSpPr/>
            <p:nvPr/>
          </p:nvSpPr>
          <p:spPr>
            <a:xfrm>
              <a:off x="825542" y="4004652"/>
              <a:ext cx="6862551" cy="21845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DC/OS Windows Agent nod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E05CA3B-154B-4F15-8957-D62336743708}"/>
                </a:ext>
              </a:extLst>
            </p:cNvPr>
            <p:cNvSpPr/>
            <p:nvPr/>
          </p:nvSpPr>
          <p:spPr>
            <a:xfrm>
              <a:off x="7886386" y="4383319"/>
              <a:ext cx="1272660" cy="8214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C/OS Linux Agent node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1DD7324-7DDF-4A26-A31F-8A66BFE03CD0}"/>
                </a:ext>
              </a:extLst>
            </p:cNvPr>
            <p:cNvSpPr/>
            <p:nvPr/>
          </p:nvSpPr>
          <p:spPr>
            <a:xfrm>
              <a:off x="2311060" y="4447401"/>
              <a:ext cx="2973199" cy="19719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Admin Router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BE62FE2-74B7-4E95-BBE6-7D6BA7264181}"/>
                </a:ext>
              </a:extLst>
            </p:cNvPr>
            <p:cNvSpPr/>
            <p:nvPr/>
          </p:nvSpPr>
          <p:spPr>
            <a:xfrm>
              <a:off x="1328015" y="2018136"/>
              <a:ext cx="2747456" cy="70612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Cluster management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AA5B60D-9CAC-4763-A0A2-09B0253BA6BE}"/>
                </a:ext>
              </a:extLst>
            </p:cNvPr>
            <p:cNvSpPr/>
            <p:nvPr/>
          </p:nvSpPr>
          <p:spPr>
            <a:xfrm>
              <a:off x="1461098" y="2310287"/>
              <a:ext cx="1187213" cy="32999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esos Master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2DD327C-EE3C-4BF0-8645-BC4E1F016DF7}"/>
                </a:ext>
              </a:extLst>
            </p:cNvPr>
            <p:cNvSpPr/>
            <p:nvPr/>
          </p:nvSpPr>
          <p:spPr>
            <a:xfrm>
              <a:off x="2803104" y="2333774"/>
              <a:ext cx="1187213" cy="31771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Exhibitor &amp;</a:t>
              </a:r>
            </a:p>
            <a:p>
              <a:pPr algn="ctr"/>
              <a:r>
                <a:rPr lang="en-US" sz="1200" dirty="0" err="1">
                  <a:solidFill>
                    <a:schemeClr val="tx1"/>
                  </a:solidFill>
                </a:rPr>
                <a:t>ZooKeeper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E74BD59-7FB5-46A2-A710-DD716C81937B}"/>
                </a:ext>
              </a:extLst>
            </p:cNvPr>
            <p:cNvSpPr/>
            <p:nvPr/>
          </p:nvSpPr>
          <p:spPr>
            <a:xfrm>
              <a:off x="1328015" y="2803492"/>
              <a:ext cx="2747456" cy="86461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Container Orchestration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0D5A8B2-2A77-40B0-9E42-FC912A699CD5}"/>
                </a:ext>
              </a:extLst>
            </p:cNvPr>
            <p:cNvSpPr/>
            <p:nvPr/>
          </p:nvSpPr>
          <p:spPr>
            <a:xfrm>
              <a:off x="1471073" y="3061752"/>
              <a:ext cx="1187213" cy="4647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arathon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E077FD9-59A9-4D44-9649-15C6B3C6F8E4}"/>
                </a:ext>
              </a:extLst>
            </p:cNvPr>
            <p:cNvSpPr/>
            <p:nvPr/>
          </p:nvSpPr>
          <p:spPr>
            <a:xfrm>
              <a:off x="2791130" y="3102263"/>
              <a:ext cx="1187213" cy="36763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etronom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72D3B44-D1B9-4634-AD50-215CEDB95E3A}"/>
                </a:ext>
              </a:extLst>
            </p:cNvPr>
            <p:cNvSpPr/>
            <p:nvPr/>
          </p:nvSpPr>
          <p:spPr>
            <a:xfrm>
              <a:off x="2333817" y="4953078"/>
              <a:ext cx="1303403" cy="25171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Diagnostics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470FA08-806E-4F0E-A2B9-32539ACF2D46}"/>
                </a:ext>
              </a:extLst>
            </p:cNvPr>
            <p:cNvSpPr/>
            <p:nvPr/>
          </p:nvSpPr>
          <p:spPr>
            <a:xfrm>
              <a:off x="3837768" y="4957935"/>
              <a:ext cx="1265062" cy="24074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etric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031BDFD-E5B3-4094-A9C9-7CA4301DECD4}"/>
                </a:ext>
              </a:extLst>
            </p:cNvPr>
            <p:cNvSpPr/>
            <p:nvPr/>
          </p:nvSpPr>
          <p:spPr>
            <a:xfrm>
              <a:off x="1328014" y="1673409"/>
              <a:ext cx="5679616" cy="25009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Admin Router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E182008-5C67-4A25-BAEC-98F07DE141DF}"/>
                </a:ext>
              </a:extLst>
            </p:cNvPr>
            <p:cNvSpPr/>
            <p:nvPr/>
          </p:nvSpPr>
          <p:spPr>
            <a:xfrm>
              <a:off x="4260174" y="2027688"/>
              <a:ext cx="2747456" cy="702219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Networking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CD0C324-3229-4A9D-9493-D3DF302B85C2}"/>
                </a:ext>
              </a:extLst>
            </p:cNvPr>
            <p:cNvSpPr/>
            <p:nvPr/>
          </p:nvSpPr>
          <p:spPr>
            <a:xfrm>
              <a:off x="4393257" y="2362270"/>
              <a:ext cx="1187213" cy="28921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DCOS-NET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CCEB6E2-0F17-4CF3-87FA-D927B0FA6EFC}"/>
                </a:ext>
              </a:extLst>
            </p:cNvPr>
            <p:cNvSpPr/>
            <p:nvPr/>
          </p:nvSpPr>
          <p:spPr>
            <a:xfrm>
              <a:off x="5665624" y="2367307"/>
              <a:ext cx="1187213" cy="27297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esos DN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649AF6E-968C-4D82-97E8-01EA68EAF154}"/>
                </a:ext>
              </a:extLst>
            </p:cNvPr>
            <p:cNvSpPr/>
            <p:nvPr/>
          </p:nvSpPr>
          <p:spPr>
            <a:xfrm>
              <a:off x="4222367" y="2851987"/>
              <a:ext cx="1931609" cy="62801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Other components</a:t>
              </a:r>
            </a:p>
          </p:txBody>
        </p:sp>
        <p:cxnSp>
          <p:nvCxnSpPr>
            <p:cNvPr id="29" name="Connector: Elbow 28">
              <a:extLst>
                <a:ext uri="{FF2B5EF4-FFF2-40B4-BE49-F238E27FC236}">
                  <a16:creationId xmlns:a16="http://schemas.microsoft.com/office/drawing/2014/main" id="{B37B1B6B-31DB-4BA6-B71E-E9818D29A56A}"/>
                </a:ext>
              </a:extLst>
            </p:cNvPr>
            <p:cNvCxnSpPr>
              <a:cxnSpLocks/>
              <a:stCxn id="15" idx="2"/>
              <a:endCxn id="22" idx="0"/>
            </p:cNvCxnSpPr>
            <p:nvPr/>
          </p:nvCxnSpPr>
          <p:spPr>
            <a:xfrm rot="5400000">
              <a:off x="3237351" y="4392768"/>
              <a:ext cx="308479" cy="81214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or: Elbow 29">
              <a:extLst>
                <a:ext uri="{FF2B5EF4-FFF2-40B4-BE49-F238E27FC236}">
                  <a16:creationId xmlns:a16="http://schemas.microsoft.com/office/drawing/2014/main" id="{8F2CE196-1AB7-4CC6-A4AB-780FCC1CF6A6}"/>
                </a:ext>
              </a:extLst>
            </p:cNvPr>
            <p:cNvCxnSpPr>
              <a:cxnSpLocks/>
            </p:cNvCxnSpPr>
            <p:nvPr/>
          </p:nvCxnSpPr>
          <p:spPr>
            <a:xfrm>
              <a:off x="3779072" y="4798739"/>
              <a:ext cx="691227" cy="167434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F1D4764-C558-402E-B3FB-C03A01143FC6}"/>
                </a:ext>
              </a:extLst>
            </p:cNvPr>
            <p:cNvSpPr txBox="1"/>
            <p:nvPr/>
          </p:nvSpPr>
          <p:spPr>
            <a:xfrm>
              <a:off x="8270207" y="1362014"/>
              <a:ext cx="85151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DC/OS </a:t>
              </a:r>
            </a:p>
            <a:p>
              <a:r>
                <a:rPr lang="en-US" dirty="0"/>
                <a:t>cluster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EDBC5ED-9B05-4E73-9DAA-B0195EBB9F36}"/>
                </a:ext>
              </a:extLst>
            </p:cNvPr>
            <p:cNvSpPr/>
            <p:nvPr/>
          </p:nvSpPr>
          <p:spPr>
            <a:xfrm>
              <a:off x="4318821" y="2900402"/>
              <a:ext cx="1931609" cy="62801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Other components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77D8E5E-D599-4880-B74A-0BFD921FA09C}"/>
                </a:ext>
              </a:extLst>
            </p:cNvPr>
            <p:cNvSpPr/>
            <p:nvPr/>
          </p:nvSpPr>
          <p:spPr>
            <a:xfrm>
              <a:off x="4399979" y="2969498"/>
              <a:ext cx="1931609" cy="62801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Other component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5296957-AE9D-46B4-A106-35E107270A7F}"/>
                </a:ext>
              </a:extLst>
            </p:cNvPr>
            <p:cNvSpPr/>
            <p:nvPr/>
          </p:nvSpPr>
          <p:spPr>
            <a:xfrm>
              <a:off x="671803" y="316791"/>
              <a:ext cx="9061168" cy="57989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Continuous Integration &amp; Deployment for Hybrid DC/OS cluster 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1D7D647-DD5F-4524-8714-ABA0645688E8}"/>
                </a:ext>
              </a:extLst>
            </p:cNvPr>
            <p:cNvSpPr/>
            <p:nvPr/>
          </p:nvSpPr>
          <p:spPr>
            <a:xfrm>
              <a:off x="9847161" y="5204789"/>
              <a:ext cx="2248644" cy="1143773"/>
            </a:xfrm>
            <a:prstGeom prst="rect">
              <a:avLst/>
            </a:prstGeom>
            <a:solidFill>
              <a:schemeClr val="bg1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C452A5ED-14B9-42F5-8627-26074D58CEAF}"/>
                </a:ext>
              </a:extLst>
            </p:cNvPr>
            <p:cNvSpPr/>
            <p:nvPr/>
          </p:nvSpPr>
          <p:spPr>
            <a:xfrm>
              <a:off x="10978392" y="5752073"/>
              <a:ext cx="751286" cy="43475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Developed by Microsoft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50A378A-9E95-451C-93B9-6F2BA67686A3}"/>
                </a:ext>
              </a:extLst>
            </p:cNvPr>
            <p:cNvSpPr/>
            <p:nvPr/>
          </p:nvSpPr>
          <p:spPr>
            <a:xfrm>
              <a:off x="3864137" y="5326268"/>
              <a:ext cx="1212323" cy="24074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esos Fetcher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0C9BCB2-CB99-4CE1-BFDE-888D5EA51B93}"/>
                </a:ext>
              </a:extLst>
            </p:cNvPr>
            <p:cNvSpPr/>
            <p:nvPr/>
          </p:nvSpPr>
          <p:spPr>
            <a:xfrm>
              <a:off x="5509430" y="4402029"/>
              <a:ext cx="2082953" cy="168301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esos-Agent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0791D02-FC20-4DD6-BD35-13B036C476FB}"/>
                </a:ext>
              </a:extLst>
            </p:cNvPr>
            <p:cNvSpPr/>
            <p:nvPr/>
          </p:nvSpPr>
          <p:spPr>
            <a:xfrm>
              <a:off x="5627506" y="4695225"/>
              <a:ext cx="844523" cy="3584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err="1">
                  <a:solidFill>
                    <a:schemeClr val="tx1"/>
                  </a:solidFill>
                </a:rPr>
                <a:t>Auth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3773944-8DD5-46D9-BC82-FA498DF17FB1}"/>
                </a:ext>
              </a:extLst>
            </p:cNvPr>
            <p:cNvSpPr/>
            <p:nvPr/>
          </p:nvSpPr>
          <p:spPr>
            <a:xfrm>
              <a:off x="954069" y="4765235"/>
              <a:ext cx="1265062" cy="66042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Networking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11A8F6F-E37F-450D-9D5F-216A7974BDA0}"/>
                </a:ext>
              </a:extLst>
            </p:cNvPr>
            <p:cNvSpPr/>
            <p:nvPr/>
          </p:nvSpPr>
          <p:spPr>
            <a:xfrm>
              <a:off x="1315626" y="5082794"/>
              <a:ext cx="472714" cy="24257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DNS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B829A36-D94F-4E54-8C03-F028A6CB5A16}"/>
                </a:ext>
              </a:extLst>
            </p:cNvPr>
            <p:cNvSpPr/>
            <p:nvPr/>
          </p:nvSpPr>
          <p:spPr>
            <a:xfrm>
              <a:off x="677008" y="6532241"/>
              <a:ext cx="8934660" cy="20649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Azure infrastructure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AFFE536-1E25-4F18-BCA2-6768FED228E7}"/>
                </a:ext>
              </a:extLst>
            </p:cNvPr>
            <p:cNvSpPr/>
            <p:nvPr/>
          </p:nvSpPr>
          <p:spPr>
            <a:xfrm>
              <a:off x="6607852" y="4695224"/>
              <a:ext cx="869846" cy="3584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Logging</a:t>
              </a:r>
            </a:p>
          </p:txBody>
        </p:sp>
        <p:cxnSp>
          <p:nvCxnSpPr>
            <p:cNvPr id="45" name="Connector: Elbow 44">
              <a:extLst>
                <a:ext uri="{FF2B5EF4-FFF2-40B4-BE49-F238E27FC236}">
                  <a16:creationId xmlns:a16="http://schemas.microsoft.com/office/drawing/2014/main" id="{164AC47F-63ED-4C4F-BEA2-525FDF6F773A}"/>
                </a:ext>
              </a:extLst>
            </p:cNvPr>
            <p:cNvCxnSpPr>
              <a:cxnSpLocks/>
              <a:stCxn id="49" idx="1"/>
              <a:endCxn id="43" idx="1"/>
            </p:cNvCxnSpPr>
            <p:nvPr/>
          </p:nvCxnSpPr>
          <p:spPr>
            <a:xfrm rot="10800000" flipV="1">
              <a:off x="677009" y="723932"/>
              <a:ext cx="306195" cy="5911553"/>
            </a:xfrm>
            <a:prstGeom prst="bentConnector3">
              <a:avLst>
                <a:gd name="adj1" fmla="val 174658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C2265EA-B65C-40DC-AC25-A5258A6C3C38}"/>
                </a:ext>
              </a:extLst>
            </p:cNvPr>
            <p:cNvSpPr/>
            <p:nvPr/>
          </p:nvSpPr>
          <p:spPr>
            <a:xfrm>
              <a:off x="4596737" y="584629"/>
              <a:ext cx="2359174" cy="25926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</a:rPr>
                <a:t>Mesos Unit tests/Integration tests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DD150C0-28AC-4569-A1F1-5F8588BD04ED}"/>
                </a:ext>
              </a:extLst>
            </p:cNvPr>
            <p:cNvSpPr/>
            <p:nvPr/>
          </p:nvSpPr>
          <p:spPr>
            <a:xfrm>
              <a:off x="5627506" y="5133519"/>
              <a:ext cx="865660" cy="43349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Docker task Health check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FB5DAFB-E309-4656-97EF-CB9AF9DE5977}"/>
                </a:ext>
              </a:extLst>
            </p:cNvPr>
            <p:cNvSpPr/>
            <p:nvPr/>
          </p:nvSpPr>
          <p:spPr>
            <a:xfrm>
              <a:off x="983203" y="594300"/>
              <a:ext cx="1528472" cy="25926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</a:rPr>
                <a:t>Cluster Scaling/Upgrade test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EF70719-A8BA-4993-8923-D1253E0BCFFD}"/>
                </a:ext>
              </a:extLst>
            </p:cNvPr>
            <p:cNvSpPr/>
            <p:nvPr/>
          </p:nvSpPr>
          <p:spPr>
            <a:xfrm>
              <a:off x="2614783" y="594547"/>
              <a:ext cx="1911169" cy="24174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</a:rPr>
                <a:t>End-to-end scenario tests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C894863-9B99-4CE1-8CA8-213E422947D9}"/>
                </a:ext>
              </a:extLst>
            </p:cNvPr>
            <p:cNvSpPr/>
            <p:nvPr/>
          </p:nvSpPr>
          <p:spPr>
            <a:xfrm>
              <a:off x="953229" y="5529062"/>
              <a:ext cx="2696809" cy="58899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Custom extension via Pre-provision </a:t>
              </a:r>
            </a:p>
            <a:p>
              <a:pPr algn="ctr"/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B8710D-7609-4955-8ACC-AC72C4579BB1}"/>
                </a:ext>
              </a:extLst>
            </p:cNvPr>
            <p:cNvSpPr/>
            <p:nvPr/>
          </p:nvSpPr>
          <p:spPr>
            <a:xfrm>
              <a:off x="7963805" y="3046747"/>
              <a:ext cx="1300640" cy="73668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</a:rPr>
                <a:t>Windows Bootstrap node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101958B-4ABD-43B4-A4C6-771C0F9845AA}"/>
                </a:ext>
              </a:extLst>
            </p:cNvPr>
            <p:cNvSpPr/>
            <p:nvPr/>
          </p:nvSpPr>
          <p:spPr>
            <a:xfrm>
              <a:off x="8167234" y="3455086"/>
              <a:ext cx="974715" cy="25656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schemeClr val="tx1"/>
                  </a:solidFill>
                </a:rPr>
                <a:t>PkgPanda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9879FAA-5797-4876-A574-12D6F6076077}"/>
                </a:ext>
              </a:extLst>
            </p:cNvPr>
            <p:cNvSpPr/>
            <p:nvPr/>
          </p:nvSpPr>
          <p:spPr>
            <a:xfrm>
              <a:off x="953229" y="4390986"/>
              <a:ext cx="1265062" cy="31024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>
                  <a:solidFill>
                    <a:schemeClr val="tx1"/>
                  </a:solidFill>
                </a:rPr>
                <a:t>PkgPanda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B9DEC66-E730-486E-AC3E-21687AD8D3B4}"/>
                </a:ext>
              </a:extLst>
            </p:cNvPr>
            <p:cNvSpPr/>
            <p:nvPr/>
          </p:nvSpPr>
          <p:spPr>
            <a:xfrm>
              <a:off x="7966008" y="2057216"/>
              <a:ext cx="1300639" cy="78802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Linux Bootstrap node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EF13C86-6CAE-40AA-B831-10B2D97C2DEC}"/>
                </a:ext>
              </a:extLst>
            </p:cNvPr>
            <p:cNvSpPr/>
            <p:nvPr/>
          </p:nvSpPr>
          <p:spPr>
            <a:xfrm>
              <a:off x="8083180" y="2467762"/>
              <a:ext cx="974715" cy="29905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PkgPand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BC66C63-7AD4-4F01-991B-41EB0336A3F8}"/>
                </a:ext>
              </a:extLst>
            </p:cNvPr>
            <p:cNvSpPr/>
            <p:nvPr/>
          </p:nvSpPr>
          <p:spPr>
            <a:xfrm>
              <a:off x="6458850" y="2960690"/>
              <a:ext cx="773036" cy="60712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PkgPand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E5BF48BE-5150-44F5-98BF-D9E449744772}"/>
                </a:ext>
              </a:extLst>
            </p:cNvPr>
            <p:cNvSpPr/>
            <p:nvPr/>
          </p:nvSpPr>
          <p:spPr>
            <a:xfrm>
              <a:off x="671804" y="949725"/>
              <a:ext cx="7893650" cy="24401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eployment with </a:t>
              </a:r>
              <a:r>
                <a:rPr lang="en-US" sz="1400" dirty="0" err="1">
                  <a:solidFill>
                    <a:schemeClr val="tx1"/>
                  </a:solidFill>
                </a:rPr>
                <a:t>dcos</a:t>
              </a:r>
              <a:r>
                <a:rPr lang="en-US" sz="1400" dirty="0">
                  <a:solidFill>
                    <a:schemeClr val="tx1"/>
                  </a:solidFill>
                </a:rPr>
                <a:t>-engine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096C0D1D-EDDF-43CD-A24B-541CC35DA44E}"/>
                </a:ext>
              </a:extLst>
            </p:cNvPr>
            <p:cNvSpPr/>
            <p:nvPr/>
          </p:nvSpPr>
          <p:spPr>
            <a:xfrm>
              <a:off x="10043540" y="5743539"/>
              <a:ext cx="751286" cy="389720"/>
            </a:xfrm>
            <a:prstGeom prst="rect">
              <a:avLst/>
            </a:prstGeom>
            <a:solidFill>
              <a:schemeClr val="bg1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Existing Components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85B33BE-E8DB-4D0B-B4BE-8F41E5747B2A}"/>
                </a:ext>
              </a:extLst>
            </p:cNvPr>
            <p:cNvSpPr/>
            <p:nvPr/>
          </p:nvSpPr>
          <p:spPr>
            <a:xfrm>
              <a:off x="5625810" y="5668407"/>
              <a:ext cx="1850192" cy="23708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Docker </a:t>
              </a:r>
              <a:r>
                <a:rPr lang="en-US" sz="1000" dirty="0" err="1">
                  <a:solidFill>
                    <a:schemeClr val="tx1"/>
                  </a:solidFill>
                </a:rPr>
                <a:t>Containerizer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F6E93BBE-B281-41E8-8FF8-386531786A2F}"/>
                </a:ext>
              </a:extLst>
            </p:cNvPr>
            <p:cNvSpPr/>
            <p:nvPr/>
          </p:nvSpPr>
          <p:spPr>
            <a:xfrm>
              <a:off x="6607852" y="5146424"/>
              <a:ext cx="914066" cy="41274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 err="1">
                  <a:solidFill>
                    <a:schemeClr val="tx1"/>
                  </a:solidFill>
                </a:rPr>
                <a:t>AsyncIO</a:t>
              </a:r>
              <a:r>
                <a:rPr lang="en-US" sz="900" dirty="0">
                  <a:solidFill>
                    <a:schemeClr val="tx1"/>
                  </a:solidFill>
                </a:rPr>
                <a:t> Library for </a:t>
              </a:r>
              <a:r>
                <a:rPr lang="en-US" sz="900" dirty="0" err="1">
                  <a:solidFill>
                    <a:schemeClr val="tx1"/>
                  </a:solidFill>
                </a:rPr>
                <a:t>LibProcess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93056294-9DFA-474E-8E17-3534F3C0A9C8}"/>
                </a:ext>
              </a:extLst>
            </p:cNvPr>
            <p:cNvSpPr/>
            <p:nvPr/>
          </p:nvSpPr>
          <p:spPr>
            <a:xfrm>
              <a:off x="6987286" y="587829"/>
              <a:ext cx="1304304" cy="24846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</a:rPr>
                <a:t>Mesos Nightly Build 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E6BC08ED-D9AE-481A-9AAB-F923A27952E4}"/>
                </a:ext>
              </a:extLst>
            </p:cNvPr>
            <p:cNvSpPr/>
            <p:nvPr/>
          </p:nvSpPr>
          <p:spPr>
            <a:xfrm>
              <a:off x="8367970" y="414892"/>
              <a:ext cx="1267185" cy="41328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DC/OS and Mesos upstream CICD integration</a:t>
              </a:r>
              <a:endParaRPr lang="en-US" sz="500" dirty="0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EFEB8FC-54E3-458B-A857-DB0F8925E4CC}"/>
                </a:ext>
              </a:extLst>
            </p:cNvPr>
            <p:cNvSpPr txBox="1"/>
            <p:nvPr/>
          </p:nvSpPr>
          <p:spPr>
            <a:xfrm>
              <a:off x="9886865" y="5280091"/>
              <a:ext cx="63382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Legend</a:t>
              </a:r>
            </a:p>
          </p:txBody>
        </p: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4E24455D-AB5B-4D31-8DF0-6ADC6EBEE861}"/>
              </a:ext>
            </a:extLst>
          </p:cNvPr>
          <p:cNvSpPr/>
          <p:nvPr/>
        </p:nvSpPr>
        <p:spPr>
          <a:xfrm>
            <a:off x="3693280" y="5598632"/>
            <a:ext cx="1675813" cy="4084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Mesos Compressor/Decompressor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6FDDB94-F5BD-441B-B2A4-2301B81DF269}"/>
              </a:ext>
            </a:extLst>
          </p:cNvPr>
          <p:cNvSpPr/>
          <p:nvPr/>
        </p:nvSpPr>
        <p:spPr>
          <a:xfrm>
            <a:off x="1108055" y="5759066"/>
            <a:ext cx="640945" cy="20977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Aqua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B7AB20D-642B-434B-A354-A5DB69ACA89B}"/>
              </a:ext>
            </a:extLst>
          </p:cNvPr>
          <p:cNvSpPr/>
          <p:nvPr/>
        </p:nvSpPr>
        <p:spPr>
          <a:xfrm>
            <a:off x="1816199" y="5759066"/>
            <a:ext cx="640945" cy="22412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err="1">
                <a:solidFill>
                  <a:schemeClr val="tx1"/>
                </a:solidFill>
              </a:rPr>
              <a:t>Fluentd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9FDE511-F317-4E71-86D4-4BE866849362}"/>
              </a:ext>
            </a:extLst>
          </p:cNvPr>
          <p:cNvSpPr/>
          <p:nvPr/>
        </p:nvSpPr>
        <p:spPr>
          <a:xfrm>
            <a:off x="2527167" y="5755474"/>
            <a:ext cx="960378" cy="22412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MSI Proxy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965D429-D909-4968-9E3E-9275BD6549E8}"/>
              </a:ext>
            </a:extLst>
          </p:cNvPr>
          <p:cNvSpPr/>
          <p:nvPr/>
        </p:nvSpPr>
        <p:spPr>
          <a:xfrm>
            <a:off x="7844094" y="5362559"/>
            <a:ext cx="1272660" cy="8214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Mesos </a:t>
            </a:r>
            <a:r>
              <a:rPr lang="en-US" sz="1400" dirty="0" err="1">
                <a:solidFill>
                  <a:schemeClr val="tx1"/>
                </a:solidFill>
              </a:rPr>
              <a:t>Cmake</a:t>
            </a:r>
            <a:r>
              <a:rPr lang="en-US" sz="1400" dirty="0">
                <a:solidFill>
                  <a:schemeClr val="tx1"/>
                </a:solidFill>
              </a:rPr>
              <a:t> Build System</a:t>
            </a:r>
          </a:p>
        </p:txBody>
      </p:sp>
    </p:spTree>
    <p:extLst>
      <p:ext uri="{BB962C8B-B14F-4D97-AF65-F5344CB8AC3E}">
        <p14:creationId xmlns:p14="http://schemas.microsoft.com/office/powerpoint/2010/main" val="5329527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Running DC/OS on Windows (cont.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0712D2-9056-4F60-93EF-F6661CE4CC9D}"/>
              </a:ext>
            </a:extLst>
          </p:cNvPr>
          <p:cNvSpPr/>
          <p:nvPr/>
        </p:nvSpPr>
        <p:spPr bwMode="auto">
          <a:xfrm>
            <a:off x="1379537" y="1443037"/>
            <a:ext cx="9677400" cy="4187825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:\&gt;dir c:\opt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11 PM    &lt;DIR&gt;          mesosphere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0 File(s)              0 bytes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3 Dir(s)  18,193,772,544 bytes free</a:t>
            </a:r>
          </a:p>
          <a:p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:\&gt;dir c:\etc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06 PM    &lt;DIR&gt;          mesosphere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07 PM    &lt;DIR&gt;         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stemd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0 File(s)              0 bytes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4 Dir(s)  18,193,727,488 bytes free</a:t>
            </a:r>
          </a:p>
          <a:p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:\&gt;dir c:\var\lib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13 PM    &lt;DIR&gt;         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12 PM    &lt;DIR&gt;         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os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0 File(s)              0 bytes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4 Dir(s)  18,201,948,160 bytes free</a:t>
            </a:r>
          </a:p>
          <a:p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757833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Running DC/OS on Windows (cont.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B479C20-280C-414C-8B06-8A8298E1B7C8}"/>
              </a:ext>
            </a:extLst>
          </p:cNvPr>
          <p:cNvSpPr/>
          <p:nvPr/>
        </p:nvSpPr>
        <p:spPr bwMode="auto">
          <a:xfrm>
            <a:off x="1379537" y="1443037"/>
            <a:ext cx="9677400" cy="4187825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:\&gt;dir c:\etc\systemd\system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597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adminrouter-agent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811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diagnostics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07 PM               811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download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415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gen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olvconf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159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gen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olvconf.timer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1,026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slave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842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metrics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gent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406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net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tchdog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3:31 PM             1,788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net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9/19/2018  02:08 PM               512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portalocker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07 PM               451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setup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08 PM                37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.target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/01/2018  05:11 PM    &lt;DIR&gt;         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.target.wants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12 File(s)          7,855 bytes</a:t>
            </a: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3 Dir(s)  18,201,063,424 bytes free</a:t>
            </a:r>
          </a:p>
          <a:p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73818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Running DC/OS on Windows (cont.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C24E29-43CD-49C0-A377-E941A4E63495}"/>
              </a:ext>
            </a:extLst>
          </p:cNvPr>
          <p:cNvSpPr/>
          <p:nvPr/>
        </p:nvSpPr>
        <p:spPr bwMode="auto">
          <a:xfrm>
            <a:off x="1379537" y="1403349"/>
            <a:ext cx="9677400" cy="4187825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:\&gt;c:\opt\mesosphere\bin\systemctl.exe list-units</a:t>
            </a: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adminrouter-agent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diagnostics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gen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olvconf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gen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olvconf.timer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slave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metrics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gent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net-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atchdog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net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-portalocker.service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cos.target</a:t>
            </a:r>
            <a:endParaRPr lang="en-US" sz="1600" dirty="0">
              <a:solidFill>
                <a:schemeClr val="bg2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600" dirty="0"/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:\&gt;c:\opt\mesosphere\bin\systemctl.exe is-active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cos-net.service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tive</a:t>
            </a:r>
          </a:p>
          <a:p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21189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29149B0-96FA-41B2-BBE8-F7C0294279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07474" y="1897062"/>
            <a:ext cx="7822222" cy="4571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978306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oud shel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399640-AAB1-41B1-AA69-32EC08E9B9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15846147-5065-4D71-B893-F881DE0F05B3}"/>
              </a:ext>
            </a:extLst>
          </p:cNvPr>
          <p:cNvSpPr/>
          <p:nvPr/>
        </p:nvSpPr>
        <p:spPr bwMode="auto">
          <a:xfrm>
            <a:off x="8580437" y="1135062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8596292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oud shell (cont.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13F0A7-1508-4E03-A7BB-69D17292BD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99008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4572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getting </a:t>
            </a:r>
            <a:r>
              <a:rPr lang="en-US" sz="1800" b="1" dirty="0" err="1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cos</a:t>
            </a:r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-engi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D4B536-C24D-40AE-A6EF-48D4B2103F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577" y="449263"/>
            <a:ext cx="12156660" cy="655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7287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getting </a:t>
            </a:r>
            <a:r>
              <a:rPr lang="en-US" sz="1800" b="1" dirty="0" err="1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cos</a:t>
            </a:r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-engine (cont.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60DD96-C055-4A32-8E47-3F5FD399EF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24004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3730252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ARM – Azure Resource Manage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ARM templat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 err="1"/>
              <a:t>dcos</a:t>
            </a:r>
            <a:r>
              <a:rPr lang="en-US" sz="3600" dirty="0"/>
              <a:t>-engine</a:t>
            </a:r>
            <a:endParaRPr lang="en-US" sz="14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DC/OS for Window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Demo: deploy, scale, upgrad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/>
              <a:t>Q&amp;A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7797084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getting </a:t>
            </a:r>
            <a:r>
              <a:rPr lang="en-US" sz="1800" b="1" dirty="0" err="1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cos</a:t>
            </a:r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-engine (cont.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4EC74E-A01B-4D9D-B5F7-D3CA6D20D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712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DB586D0-E674-47A5-AABB-76DBCCF86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53985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F39B57-19AB-4156-A8CF-62AF4C7053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EF5933F-720E-4525-AA71-98BD2C9B2C1F}"/>
              </a:ext>
            </a:extLst>
          </p:cNvPr>
          <p:cNvSpPr/>
          <p:nvPr/>
        </p:nvSpPr>
        <p:spPr bwMode="auto">
          <a:xfrm>
            <a:off x="3398837" y="2125662"/>
            <a:ext cx="4114800" cy="9144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C/OS Version: 1.11.2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aster nodes: 1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NS: </a:t>
            </a:r>
            <a:r>
              <a:rPr lang="en-US" sz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esos</a:t>
            </a: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-demo.&lt;location&gt;.cloudapp.azure.com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mpute: 2 vCPU, 8 </a:t>
            </a:r>
            <a:r>
              <a:rPr lang="en-US" sz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GiB</a:t>
            </a:r>
            <a:endParaRPr lang="en-US" sz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6776239-D902-4732-9DFB-DF87A32EEF64}"/>
              </a:ext>
            </a:extLst>
          </p:cNvPr>
          <p:cNvSpPr/>
          <p:nvPr/>
        </p:nvSpPr>
        <p:spPr bwMode="auto">
          <a:xfrm>
            <a:off x="3398837" y="3170506"/>
            <a:ext cx="2438400" cy="914400"/>
          </a:xfrm>
          <a:prstGeom prst="roundRect">
            <a:avLst/>
          </a:prstGeom>
          <a:solidFill>
            <a:schemeClr val="accent2">
              <a:lumMod val="75000"/>
              <a:lumOff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gent pool name: “win”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gent nodes: 2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mpute: 4 vCPU, 16 </a:t>
            </a:r>
            <a:r>
              <a:rPr lang="en-US" sz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GiB</a:t>
            </a:r>
            <a:endParaRPr lang="en-US" sz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gent OS: Window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00A5CF1-1250-4592-90B2-0D694A935982}"/>
              </a:ext>
            </a:extLst>
          </p:cNvPr>
          <p:cNvCxnSpPr>
            <a:cxnSpLocks/>
          </p:cNvCxnSpPr>
          <p:nvPr/>
        </p:nvCxnSpPr>
        <p:spPr>
          <a:xfrm>
            <a:off x="1951037" y="2354262"/>
            <a:ext cx="1600200" cy="0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700BA9C-1FA6-49F3-9045-BD549B7706F3}"/>
              </a:ext>
            </a:extLst>
          </p:cNvPr>
          <p:cNvCxnSpPr>
            <a:cxnSpLocks/>
          </p:cNvCxnSpPr>
          <p:nvPr/>
        </p:nvCxnSpPr>
        <p:spPr>
          <a:xfrm flipV="1">
            <a:off x="1036637" y="2516211"/>
            <a:ext cx="2514600" cy="142851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43250F9-1254-41B5-9F74-611B9725989B}"/>
              </a:ext>
            </a:extLst>
          </p:cNvPr>
          <p:cNvCxnSpPr>
            <a:cxnSpLocks/>
          </p:cNvCxnSpPr>
          <p:nvPr/>
        </p:nvCxnSpPr>
        <p:spPr>
          <a:xfrm>
            <a:off x="1722437" y="2735262"/>
            <a:ext cx="1828800" cy="0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2753A86-EF4C-4021-8037-9263D8F45F7A}"/>
              </a:ext>
            </a:extLst>
          </p:cNvPr>
          <p:cNvCxnSpPr>
            <a:cxnSpLocks/>
          </p:cNvCxnSpPr>
          <p:nvPr/>
        </p:nvCxnSpPr>
        <p:spPr>
          <a:xfrm>
            <a:off x="1798637" y="2887662"/>
            <a:ext cx="1752600" cy="0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D94BEE3-EACE-432A-944C-3F1D29A1F9E0}"/>
              </a:ext>
            </a:extLst>
          </p:cNvPr>
          <p:cNvSpPr/>
          <p:nvPr/>
        </p:nvSpPr>
        <p:spPr bwMode="auto">
          <a:xfrm>
            <a:off x="3398837" y="4259262"/>
            <a:ext cx="2438400" cy="914400"/>
          </a:xfrm>
          <a:prstGeom prst="roundRect">
            <a:avLst/>
          </a:prstGeom>
          <a:solidFill>
            <a:schemeClr val="accent2">
              <a:lumMod val="75000"/>
              <a:lumOff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gent pool name: “</a:t>
            </a:r>
            <a:r>
              <a:rPr lang="en-US" sz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lnx</a:t>
            </a: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”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gent nodes: 2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mpute: 2 vCPU, 8 </a:t>
            </a:r>
            <a:r>
              <a:rPr lang="en-US" sz="12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GiB</a:t>
            </a:r>
            <a:endParaRPr lang="en-US" sz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gent OS: Linux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1468285-0778-4A2E-B14B-3476580BE0BE}"/>
              </a:ext>
            </a:extLst>
          </p:cNvPr>
          <p:cNvCxnSpPr>
            <a:cxnSpLocks/>
          </p:cNvCxnSpPr>
          <p:nvPr/>
        </p:nvCxnSpPr>
        <p:spPr>
          <a:xfrm>
            <a:off x="1341437" y="3344862"/>
            <a:ext cx="2209800" cy="152400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17E0FC3-03F2-4098-A02B-3D25810C51FE}"/>
              </a:ext>
            </a:extLst>
          </p:cNvPr>
          <p:cNvCxnSpPr>
            <a:cxnSpLocks/>
          </p:cNvCxnSpPr>
          <p:nvPr/>
        </p:nvCxnSpPr>
        <p:spPr>
          <a:xfrm>
            <a:off x="1189037" y="3421062"/>
            <a:ext cx="2362200" cy="206644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D722FDD-5913-45B1-9340-B987F6274296}"/>
              </a:ext>
            </a:extLst>
          </p:cNvPr>
          <p:cNvCxnSpPr>
            <a:cxnSpLocks/>
          </p:cNvCxnSpPr>
          <p:nvPr/>
        </p:nvCxnSpPr>
        <p:spPr>
          <a:xfrm>
            <a:off x="1951037" y="3595418"/>
            <a:ext cx="1600200" cy="162732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5F9FD4C-7FAC-420C-8158-1ACB34A3045B}"/>
              </a:ext>
            </a:extLst>
          </p:cNvPr>
          <p:cNvCxnSpPr>
            <a:cxnSpLocks/>
          </p:cNvCxnSpPr>
          <p:nvPr/>
        </p:nvCxnSpPr>
        <p:spPr>
          <a:xfrm>
            <a:off x="1570037" y="3687763"/>
            <a:ext cx="1981200" cy="190499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41F4EE2-B82F-4E3E-80A4-D352538D5E75}"/>
              </a:ext>
            </a:extLst>
          </p:cNvPr>
          <p:cNvCxnSpPr>
            <a:cxnSpLocks/>
          </p:cNvCxnSpPr>
          <p:nvPr/>
        </p:nvCxnSpPr>
        <p:spPr>
          <a:xfrm>
            <a:off x="1341437" y="4030662"/>
            <a:ext cx="2209800" cy="457200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82985BA3-892D-427B-870E-3386331BB90D}"/>
              </a:ext>
            </a:extLst>
          </p:cNvPr>
          <p:cNvCxnSpPr>
            <a:cxnSpLocks/>
          </p:cNvCxnSpPr>
          <p:nvPr/>
        </p:nvCxnSpPr>
        <p:spPr>
          <a:xfrm>
            <a:off x="1326514" y="4147184"/>
            <a:ext cx="2224723" cy="502627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EF77258-2A7A-41C1-BC59-FC7DDA1C1AFF}"/>
              </a:ext>
            </a:extLst>
          </p:cNvPr>
          <p:cNvCxnSpPr>
            <a:cxnSpLocks/>
          </p:cNvCxnSpPr>
          <p:nvPr/>
        </p:nvCxnSpPr>
        <p:spPr>
          <a:xfrm>
            <a:off x="1570037" y="4355623"/>
            <a:ext cx="1981200" cy="437039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3ABD2411-52A9-47B7-B6FD-CACF3300BEC1}"/>
              </a:ext>
            </a:extLst>
          </p:cNvPr>
          <p:cNvCxnSpPr>
            <a:cxnSpLocks/>
          </p:cNvCxnSpPr>
          <p:nvPr/>
        </p:nvCxnSpPr>
        <p:spPr>
          <a:xfrm>
            <a:off x="1344611" y="4413884"/>
            <a:ext cx="2221549" cy="512080"/>
          </a:xfrm>
          <a:prstGeom prst="straightConnector1">
            <a:avLst/>
          </a:prstGeom>
          <a:ln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52588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568F1F-80ED-40A0-B523-EDC4AE28EE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068202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5E51D6-A2AA-4CAB-9737-6FEAF30C59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8557E40-A808-4656-964A-961F9027B0C5}"/>
              </a:ext>
            </a:extLst>
          </p:cNvPr>
          <p:cNvSpPr/>
          <p:nvPr/>
        </p:nvSpPr>
        <p:spPr bwMode="auto">
          <a:xfrm>
            <a:off x="10180637" y="2201862"/>
            <a:ext cx="685800" cy="4572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676359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5F1FE-FF99-42D2-A7FB-9F5F714D9A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99" y="405394"/>
            <a:ext cx="12238038" cy="6597067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0563B7D1-A055-4065-BC9B-A4F7AE35702A}"/>
              </a:ext>
            </a:extLst>
          </p:cNvPr>
          <p:cNvSpPr/>
          <p:nvPr/>
        </p:nvSpPr>
        <p:spPr bwMode="auto">
          <a:xfrm>
            <a:off x="10104437" y="2201862"/>
            <a:ext cx="762000" cy="4572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927971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F3E1FF-9CD1-4A36-82EC-41BD57E449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CAE7DB88-284E-41B8-A5B1-09C81AE89DEA}"/>
              </a:ext>
            </a:extLst>
          </p:cNvPr>
          <p:cNvSpPr/>
          <p:nvPr/>
        </p:nvSpPr>
        <p:spPr bwMode="auto">
          <a:xfrm>
            <a:off x="5913437" y="2659062"/>
            <a:ext cx="4572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2170642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D7C4443-757D-46CE-89B9-EDEC7A745F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0B995636-6E00-4003-831D-D67DB98C2635}"/>
              </a:ext>
            </a:extLst>
          </p:cNvPr>
          <p:cNvSpPr/>
          <p:nvPr/>
        </p:nvSpPr>
        <p:spPr bwMode="auto">
          <a:xfrm>
            <a:off x="1951037" y="6303644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6BC34EC-0855-4CBD-B56A-A370ABB1FDA8}"/>
              </a:ext>
            </a:extLst>
          </p:cNvPr>
          <p:cNvSpPr/>
          <p:nvPr/>
        </p:nvSpPr>
        <p:spPr bwMode="auto">
          <a:xfrm>
            <a:off x="1951037" y="5855993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6970596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889F54-4122-4A5C-9576-91E3BA236D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BA2DB0AA-007B-4BEF-80A0-29278BDC8611}"/>
              </a:ext>
            </a:extLst>
          </p:cNvPr>
          <p:cNvSpPr/>
          <p:nvPr/>
        </p:nvSpPr>
        <p:spPr bwMode="auto">
          <a:xfrm>
            <a:off x="5951537" y="4183062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4259F99-CC60-4101-B280-D8E71F67ABB8}"/>
              </a:ext>
            </a:extLst>
          </p:cNvPr>
          <p:cNvSpPr/>
          <p:nvPr/>
        </p:nvSpPr>
        <p:spPr bwMode="auto">
          <a:xfrm>
            <a:off x="2789237" y="1287462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337579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6E9CDC-D08B-44E4-ACD8-F9CA5BE584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96318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5481" y="1058862"/>
            <a:ext cx="11885514" cy="5576911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rgbClr val="0070C0"/>
                </a:solidFill>
                <a:latin typeface="+mn-lt"/>
              </a:rPr>
              <a:t>Azure Resource Manager </a:t>
            </a:r>
            <a:r>
              <a:rPr lang="en-US" sz="2400" dirty="0">
                <a:latin typeface="+mn-lt"/>
              </a:rPr>
              <a:t>(ARM) provides unified interface for deploying and managing resources.</a:t>
            </a:r>
          </a:p>
          <a:p>
            <a:pPr marL="0" indent="0">
              <a:buNone/>
            </a:pPr>
            <a:endParaRPr lang="en-US" sz="2400" dirty="0">
              <a:latin typeface="+mn-lt"/>
            </a:endParaRPr>
          </a:p>
          <a:p>
            <a:pPr marL="0" indent="0">
              <a:buNone/>
            </a:pPr>
            <a:r>
              <a:rPr lang="en-US" sz="2400" dirty="0">
                <a:solidFill>
                  <a:srgbClr val="0070C0"/>
                </a:solidFill>
                <a:latin typeface="+mn-lt"/>
              </a:rPr>
              <a:t>Resource</a:t>
            </a:r>
            <a:r>
              <a:rPr lang="en-US" sz="2400" dirty="0">
                <a:latin typeface="+mn-lt"/>
              </a:rPr>
              <a:t> is a functional unit in Azure infrastructure, such as storage, VM, IP address, DB, etc. </a:t>
            </a:r>
          </a:p>
          <a:p>
            <a:pPr marL="0" indent="0">
              <a:buNone/>
            </a:pPr>
            <a:endParaRPr lang="en-US" sz="2400" dirty="0">
              <a:latin typeface="+mn-lt"/>
            </a:endParaRPr>
          </a:p>
          <a:p>
            <a:pPr marL="0" indent="0">
              <a:buNone/>
            </a:pPr>
            <a:r>
              <a:rPr lang="en-US" sz="2400" dirty="0">
                <a:solidFill>
                  <a:srgbClr val="0070C0"/>
                </a:solidFill>
                <a:latin typeface="+mn-lt"/>
              </a:rPr>
              <a:t>Resource group </a:t>
            </a:r>
            <a:r>
              <a:rPr lang="en-US" sz="2400" dirty="0">
                <a:latin typeface="+mn-lt"/>
              </a:rPr>
              <a:t>constitutes a collection of resources that support an application or workload</a:t>
            </a:r>
          </a:p>
          <a:p>
            <a:pPr marL="0" indent="0">
              <a:buNone/>
            </a:pPr>
            <a:endParaRPr lang="en-US" sz="2400" dirty="0">
              <a:latin typeface="+mn-lt"/>
            </a:endParaRPr>
          </a:p>
          <a:p>
            <a:pPr marL="0" indent="0">
              <a:buNone/>
            </a:pPr>
            <a:r>
              <a:rPr lang="en-US" sz="2400" dirty="0">
                <a:solidFill>
                  <a:srgbClr val="0070C0"/>
                </a:solidFill>
                <a:latin typeface="+mn-lt"/>
              </a:rPr>
              <a:t>Resource provider </a:t>
            </a:r>
            <a:r>
              <a:rPr lang="en-US" sz="2400" dirty="0">
                <a:latin typeface="+mn-lt"/>
              </a:rPr>
              <a:t>(RP) creates and manages resources of specific class. For example:</a:t>
            </a:r>
          </a:p>
          <a:p>
            <a:r>
              <a:rPr lang="en-US" sz="2400" dirty="0">
                <a:latin typeface="+mn-lt"/>
              </a:rPr>
              <a:t>Storage RP – Storage Account, </a:t>
            </a:r>
          </a:p>
          <a:p>
            <a:r>
              <a:rPr lang="en-US" sz="2400" dirty="0">
                <a:latin typeface="+mn-lt"/>
              </a:rPr>
              <a:t>Disk RP - Managed Disk</a:t>
            </a:r>
          </a:p>
          <a:p>
            <a:r>
              <a:rPr lang="en-US" sz="2400" dirty="0">
                <a:latin typeface="+mn-lt"/>
              </a:rPr>
              <a:t>Network RP – IP Address, VNET, Load Balancer</a:t>
            </a:r>
          </a:p>
          <a:p>
            <a:r>
              <a:rPr lang="en-US" sz="2400" dirty="0">
                <a:latin typeface="+mn-lt"/>
              </a:rPr>
              <a:t>Compute RP – VM, VM Scale Set, VM Availability Se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763587"/>
          </a:xfrm>
        </p:spPr>
        <p:txBody>
          <a:bodyPr/>
          <a:lstStyle/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Provisioning resources in ARM</a:t>
            </a:r>
          </a:p>
        </p:txBody>
      </p:sp>
    </p:spTree>
    <p:extLst>
      <p:ext uri="{BB962C8B-B14F-4D97-AF65-F5344CB8AC3E}">
        <p14:creationId xmlns:p14="http://schemas.microsoft.com/office/powerpoint/2010/main" val="2823450061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5D9415F-DCE8-4EDC-876C-2C44AC44E3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589C5883-47F0-4DDD-B281-784C69C4CC21}"/>
              </a:ext>
            </a:extLst>
          </p:cNvPr>
          <p:cNvSpPr/>
          <p:nvPr/>
        </p:nvSpPr>
        <p:spPr bwMode="auto">
          <a:xfrm>
            <a:off x="5837237" y="4183062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4011B39-89D4-4FEC-9082-0FB649DFF287}"/>
              </a:ext>
            </a:extLst>
          </p:cNvPr>
          <p:cNvSpPr/>
          <p:nvPr/>
        </p:nvSpPr>
        <p:spPr bwMode="auto">
          <a:xfrm>
            <a:off x="2789237" y="1287462"/>
            <a:ext cx="5334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8473252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3CEC603-BDCC-4B82-9031-57F6330684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904585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cluster deployment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9F6013-2065-4CAE-BD1B-34236FEBE3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98524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marathon app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3945FF-5E64-4D2B-9065-06E8F33289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237" y="349845"/>
            <a:ext cx="8204364" cy="664468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C02659D-9A38-4E52-9F72-B875A42ECE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5873" y="349845"/>
            <a:ext cx="8204364" cy="6644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006323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marathon apps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01A54A-739D-41D0-86EB-F3FE819BF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413258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97BFDC-DE90-4F7D-83AD-7CB180983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932834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EB3358-6FED-4C20-992A-C2AC7B7718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523" y="601662"/>
            <a:ext cx="11957336" cy="7286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853217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9DF0689-1FB8-4B79-AD84-893AA1940C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058104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95FECCB-311D-4110-B37F-BEC6B09E99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358876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5E429F-706B-4999-B2AD-718733838B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5E8AA761-46D7-4450-99B5-F10B16F7EB8A}"/>
              </a:ext>
            </a:extLst>
          </p:cNvPr>
          <p:cNvSpPr/>
          <p:nvPr/>
        </p:nvSpPr>
        <p:spPr bwMode="auto">
          <a:xfrm>
            <a:off x="5989637" y="2811462"/>
            <a:ext cx="609600" cy="381000"/>
          </a:xfrm>
          <a:prstGeom prst="ellipse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405090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</p:spPr>
        <p:txBody>
          <a:bodyPr/>
          <a:lstStyle/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Provisioning resources in ARM (cont.)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3837" y="1363662"/>
            <a:ext cx="8571271" cy="5073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693863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B3EC0F-736C-4EDF-8681-FC55775BEE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696089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DC/OS upgrade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6465B9-C3B9-4CFB-A9F8-A07BB5DB1D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333230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scal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B4F723-86CA-4510-AC91-8B59CC0249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35701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scaling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B1DC4F-C509-431D-BCFD-5122BE7C7A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104639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scaling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E15987-DC3E-4E7B-989C-98F305D98C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494253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-7938"/>
            <a:ext cx="11889564" cy="304800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18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emo: scaling (cont.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BAF7EB9-B154-494A-B7AC-7DFB1828CA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93" y="430164"/>
            <a:ext cx="12192089" cy="6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795580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Going forward …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739FA442-6287-43D4-A71E-B422CB3BDCE6}"/>
              </a:ext>
            </a:extLst>
          </p:cNvPr>
          <p:cNvSpPr txBox="1">
            <a:spLocks/>
          </p:cNvSpPr>
          <p:nvPr/>
        </p:nvSpPr>
        <p:spPr>
          <a:xfrm>
            <a:off x="611963" y="1211262"/>
            <a:ext cx="10025874" cy="457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32742" rtl="0" eaLnBrk="1" latinLnBrk="0" hangingPunct="1">
              <a:defRPr sz="122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66298" lvl="1"/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Features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dding support for upcoming DC/OS releases in </a:t>
            </a:r>
            <a:r>
              <a:rPr lang="en-US" sz="24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cos</a:t>
            </a: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-engine</a:t>
            </a:r>
          </a:p>
          <a:p>
            <a:pPr lvl="1"/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ontinue contributing to open source projects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hlinkClick r:id="rId3"/>
              </a:rPr>
              <a:t>https://github.com/Azure/dcos-engine</a:t>
            </a:r>
            <a:endParaRPr lang="en-US" sz="2400" dirty="0"/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hlinkClick r:id="rId4"/>
              </a:rPr>
              <a:t>https://github.com/dcos/dcos</a:t>
            </a:r>
            <a:endParaRPr lang="en-US" sz="2400" dirty="0"/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hlinkClick r:id="rId5"/>
              </a:rPr>
              <a:t>https://github.com/dcos/dcos-windows</a:t>
            </a:r>
            <a:endParaRPr lang="en-US" sz="2400" dirty="0"/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hlinkClick r:id="rId6"/>
              </a:rPr>
              <a:t>https://github.com/apache/mesos</a:t>
            </a:r>
            <a:endParaRPr lang="en-US" sz="2400" dirty="0"/>
          </a:p>
          <a:p>
            <a:pPr marL="809198" lvl="1" indent="-342900">
              <a:buFont typeface="Courier New" panose="02070309020205020404" pitchFamily="49" charset="0"/>
              <a:buChar char="o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ontinue collaboration with Mesosphe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buFontTx/>
              <a:buChar char="-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395865078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6289D0B-A015-412E-86B5-7290B12231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1999" y="1058862"/>
            <a:ext cx="2972477" cy="23119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3E68D4B-5ADA-496A-91B4-4AB21DFF6D4C}"/>
              </a:ext>
            </a:extLst>
          </p:cNvPr>
          <p:cNvSpPr txBox="1"/>
          <p:nvPr/>
        </p:nvSpPr>
        <p:spPr>
          <a:xfrm>
            <a:off x="2103437" y="4792662"/>
            <a:ext cx="9067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hlinkClick r:id="rId4"/>
              </a:rPr>
              <a:t>https://</a:t>
            </a:r>
            <a:r>
              <a:rPr lang="en-US" sz="2400" u="sng" dirty="0">
                <a:hlinkClick r:id="rId4"/>
              </a:rPr>
              <a:t>github.com</a:t>
            </a:r>
            <a:r>
              <a:rPr lang="en-US" sz="2400" dirty="0">
                <a:hlinkClick r:id="rId4"/>
              </a:rPr>
              <a:t>/dmitsh/docs/</a:t>
            </a:r>
            <a:endParaRPr lang="en-US" sz="2400" dirty="0"/>
          </a:p>
          <a:p>
            <a:endParaRPr lang="en-US" sz="2400" dirty="0"/>
          </a:p>
          <a:p>
            <a:r>
              <a:rPr lang="en-US" sz="2400" u="sng" dirty="0">
                <a:hlinkClick r:id="rId5"/>
              </a:rPr>
              <a:t>https://github.com/Azure/dcos-engine/issues</a:t>
            </a:r>
            <a:endParaRPr lang="en-US" sz="2400" u="sng" dirty="0"/>
          </a:p>
        </p:txBody>
      </p:sp>
    </p:spTree>
    <p:extLst>
      <p:ext uri="{BB962C8B-B14F-4D97-AF65-F5344CB8AC3E}">
        <p14:creationId xmlns:p14="http://schemas.microsoft.com/office/powerpoint/2010/main" val="99096095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</p:spPr>
        <p:txBody>
          <a:bodyPr/>
          <a:lstStyle/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Provisioning resources in ARM (cont.)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5481" y="906462"/>
            <a:ext cx="11885514" cy="5343129"/>
          </a:xfrm>
        </p:spPr>
        <p:txBody>
          <a:bodyPr/>
          <a:lstStyle/>
          <a:p>
            <a:pPr marL="0" indent="0" algn="ctr">
              <a:buNone/>
            </a:pPr>
            <a:r>
              <a:rPr lang="en-US" sz="3200" dirty="0">
                <a:solidFill>
                  <a:srgbClr val="0070C0"/>
                </a:solidFill>
              </a:rPr>
              <a:t>ARM clients</a:t>
            </a:r>
            <a:endParaRPr lang="en-US" sz="3200" dirty="0"/>
          </a:p>
          <a:p>
            <a:pPr marL="0" indent="0">
              <a:buNone/>
            </a:pPr>
            <a:endParaRPr lang="en-US" sz="2400" dirty="0">
              <a:solidFill>
                <a:srgbClr val="0070C0"/>
              </a:solidFill>
              <a:latin typeface="+mn-lt"/>
            </a:endParaRPr>
          </a:p>
          <a:p>
            <a:r>
              <a:rPr lang="en-US" sz="2400" dirty="0">
                <a:latin typeface="+mn-lt"/>
              </a:rPr>
              <a:t>Azure Portal</a:t>
            </a:r>
          </a:p>
          <a:p>
            <a:pPr marL="0" indent="0">
              <a:buNone/>
            </a:pPr>
            <a:r>
              <a:rPr lang="en-US" sz="2400" dirty="0">
                <a:latin typeface="+mn-lt"/>
              </a:rPr>
              <a:t>	an easy-to-use graphical UX</a:t>
            </a:r>
          </a:p>
          <a:p>
            <a:r>
              <a:rPr lang="en-US" sz="2400" dirty="0">
                <a:latin typeface="+mn-lt"/>
              </a:rPr>
              <a:t>Azure CLI</a:t>
            </a:r>
          </a:p>
          <a:p>
            <a:pPr marL="0" indent="0">
              <a:buNone/>
            </a:pPr>
            <a:r>
              <a:rPr lang="en-US" sz="2400" dirty="0">
                <a:latin typeface="+mn-lt"/>
              </a:rPr>
              <a:t>	a multiplatform command line interface</a:t>
            </a:r>
          </a:p>
          <a:p>
            <a:r>
              <a:rPr lang="en-US" sz="2400" dirty="0">
                <a:latin typeface="+mn-lt"/>
              </a:rPr>
              <a:t>Azure </a:t>
            </a:r>
            <a:r>
              <a:rPr lang="en-US" sz="2400" dirty="0" err="1">
                <a:latin typeface="+mn-lt"/>
              </a:rPr>
              <a:t>Powershell</a:t>
            </a:r>
            <a:endParaRPr lang="en-US" sz="2400" dirty="0">
              <a:latin typeface="+mn-lt"/>
            </a:endParaRPr>
          </a:p>
          <a:p>
            <a:pPr marL="0" indent="0">
              <a:buNone/>
            </a:pPr>
            <a:r>
              <a:rPr lang="en-US" sz="2400" dirty="0">
                <a:latin typeface="+mn-lt"/>
              </a:rPr>
              <a:t>	a set of cmdlets using ARM model for resource management</a:t>
            </a:r>
          </a:p>
          <a:p>
            <a:r>
              <a:rPr lang="en-US" sz="2400" dirty="0">
                <a:latin typeface="+mn-lt"/>
              </a:rPr>
              <a:t>Azure Cloud Shell</a:t>
            </a:r>
          </a:p>
          <a:p>
            <a:pPr marL="0" indent="0">
              <a:buNone/>
            </a:pPr>
            <a:r>
              <a:rPr lang="en-US" sz="2400" dirty="0">
                <a:latin typeface="+mn-lt"/>
              </a:rPr>
              <a:t>	an authenticated browser based shell tool hosted in the cloud </a:t>
            </a:r>
          </a:p>
          <a:p>
            <a:r>
              <a:rPr lang="en-US" sz="2400" dirty="0">
                <a:latin typeface="+mn-lt"/>
              </a:rPr>
              <a:t>Azure SDK</a:t>
            </a:r>
          </a:p>
          <a:p>
            <a:pPr marL="0" indent="0">
              <a:buNone/>
            </a:pPr>
            <a:r>
              <a:rPr lang="en-US" sz="2400" dirty="0">
                <a:latin typeface="+mn-lt"/>
              </a:rPr>
              <a:t>	.NET, Java, Node, Python, Go, Ruby, PHP, etc.</a:t>
            </a:r>
          </a:p>
          <a:p>
            <a:pPr lvl="1"/>
            <a:endParaRPr lang="en-US" sz="80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6627340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9B60D3-A37B-45B7-89F1-5A009A613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</p:spPr>
        <p:txBody>
          <a:bodyPr/>
          <a:lstStyle/>
          <a:p>
            <a:pPr algn="ctr"/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Provisioning resources in ARM (cont.)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17D5AF92-2051-422E-80D4-DC5CA572E3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5481" y="1213175"/>
            <a:ext cx="11885514" cy="4690515"/>
          </a:xfrm>
        </p:spPr>
        <p:txBody>
          <a:bodyPr/>
          <a:lstStyle/>
          <a:p>
            <a:pPr marL="0" indent="0" algn="ctr">
              <a:buNone/>
            </a:pPr>
            <a:r>
              <a:rPr lang="en-US" sz="3200" dirty="0">
                <a:solidFill>
                  <a:srgbClr val="0070C0"/>
                </a:solidFill>
              </a:rPr>
              <a:t>ARM Template</a:t>
            </a:r>
            <a:endParaRPr lang="en-US" sz="3200" dirty="0"/>
          </a:p>
          <a:p>
            <a:pPr marL="0" indent="0">
              <a:buNone/>
            </a:pPr>
            <a:endParaRPr lang="en-US" sz="2400" dirty="0">
              <a:solidFill>
                <a:srgbClr val="0070C0"/>
              </a:solidFill>
              <a:latin typeface="+mn-lt"/>
            </a:endParaRP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Is a JSON file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Is declarative and repeatable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Describes entire topology of the application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Specifies resources, dependencies, and connections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Parametrized input/output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Ensures idempotency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Simplifies orchestration</a:t>
            </a:r>
          </a:p>
          <a:p>
            <a:pPr>
              <a:lnSpc>
                <a:spcPct val="100000"/>
              </a:lnSpc>
              <a:buFontTx/>
              <a:buChar char="-"/>
            </a:pPr>
            <a:r>
              <a:rPr lang="en-US" sz="2400" dirty="0">
                <a:latin typeface="+mn-lt"/>
              </a:rPr>
              <a:t>Provides Cross-Resource Configuration and Update support</a:t>
            </a:r>
          </a:p>
        </p:txBody>
      </p:sp>
    </p:spTree>
    <p:extLst>
      <p:ext uri="{BB962C8B-B14F-4D97-AF65-F5344CB8AC3E}">
        <p14:creationId xmlns:p14="http://schemas.microsoft.com/office/powerpoint/2010/main" val="216688817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 err="1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cos</a:t>
            </a:r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-engine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739FA442-6287-43D4-A71E-B422CB3BDCE6}"/>
              </a:ext>
            </a:extLst>
          </p:cNvPr>
          <p:cNvSpPr txBox="1">
            <a:spLocks/>
          </p:cNvSpPr>
          <p:nvPr/>
        </p:nvSpPr>
        <p:spPr>
          <a:xfrm>
            <a:off x="274637" y="982662"/>
            <a:ext cx="11885514" cy="457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32742" rtl="0" eaLnBrk="1" latinLnBrk="0" hangingPunct="1">
              <a:defRPr sz="122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is as open source project </a:t>
            </a:r>
            <a:r>
              <a:rPr lang="en-US" sz="2400" dirty="0">
                <a:hlinkClick r:id="rId3"/>
              </a:rPr>
              <a:t>https://github.com/Azure/dcos-engine/</a:t>
            </a:r>
            <a:endParaRPr lang="en-US" sz="2400" dirty="0"/>
          </a:p>
          <a:p>
            <a:pPr marL="342900" indent="-342900">
              <a:buFontTx/>
              <a:buChar char="-"/>
            </a:pPr>
            <a:endParaRPr lang="en-US" sz="2400" dirty="0"/>
          </a:p>
          <a:p>
            <a:pPr marL="342900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initiated by Microsoft team</a:t>
            </a:r>
          </a:p>
          <a:p>
            <a:pPr marL="342900" indent="-342900">
              <a:buFontTx/>
              <a:buChar char="-"/>
            </a:pPr>
            <a:endParaRPr lang="en-US" sz="2400" dirty="0"/>
          </a:p>
          <a:p>
            <a:pPr marL="342900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llows to create, deploy, and manage highly customizable DC/OS cluster templates</a:t>
            </a:r>
          </a:p>
          <a:p>
            <a:pPr marL="342900" indent="-342900">
              <a:buFontTx/>
              <a:buChar char="-"/>
            </a:pPr>
            <a:endParaRPr lang="en-US" sz="2400" dirty="0"/>
          </a:p>
          <a:p>
            <a:pPr marL="342900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leverages advanced network, storage, compute, and security infrastructure of Azure</a:t>
            </a:r>
          </a:p>
          <a:p>
            <a:pPr marL="342900" indent="-342900">
              <a:buFontTx/>
              <a:buChar char="-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ontributes to container democratization in Azure</a:t>
            </a:r>
          </a:p>
        </p:txBody>
      </p:sp>
    </p:spTree>
    <p:extLst>
      <p:ext uri="{BB962C8B-B14F-4D97-AF65-F5344CB8AC3E}">
        <p14:creationId xmlns:p14="http://schemas.microsoft.com/office/powerpoint/2010/main" val="277583725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6037" y="1058862"/>
            <a:ext cx="5191123" cy="5867400"/>
          </a:xfrm>
          <a:prstGeom prst="rect">
            <a:avLst/>
          </a:prstGeom>
          <a:solidFill>
            <a:srgbClr val="00BC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 err="1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cos</a:t>
            </a:r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-engine template generation workflow</a:t>
            </a:r>
          </a:p>
        </p:txBody>
      </p:sp>
      <p:sp>
        <p:nvSpPr>
          <p:cNvPr id="2" name="Flowchart: Card 1"/>
          <p:cNvSpPr/>
          <p:nvPr/>
        </p:nvSpPr>
        <p:spPr>
          <a:xfrm>
            <a:off x="1693863" y="1443037"/>
            <a:ext cx="1219200" cy="685800"/>
          </a:xfrm>
          <a:prstGeom prst="flowChartPunchedCard">
            <a:avLst/>
          </a:prstGeom>
          <a:solidFill>
            <a:srgbClr val="7F7F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uster API model</a:t>
            </a:r>
          </a:p>
        </p:txBody>
      </p:sp>
      <p:sp>
        <p:nvSpPr>
          <p:cNvPr id="8" name="Flowchart: Card 7"/>
          <p:cNvSpPr/>
          <p:nvPr/>
        </p:nvSpPr>
        <p:spPr>
          <a:xfrm>
            <a:off x="1112837" y="3625577"/>
            <a:ext cx="1219200" cy="685800"/>
          </a:xfrm>
          <a:prstGeom prst="flowChartPunchedCard">
            <a:avLst/>
          </a:prstGeom>
          <a:solidFill>
            <a:srgbClr val="7F7F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M Template</a:t>
            </a:r>
          </a:p>
        </p:txBody>
      </p:sp>
      <p:sp>
        <p:nvSpPr>
          <p:cNvPr id="9" name="Flowchart: Card 8"/>
          <p:cNvSpPr/>
          <p:nvPr/>
        </p:nvSpPr>
        <p:spPr>
          <a:xfrm>
            <a:off x="2408237" y="3625577"/>
            <a:ext cx="1219200" cy="685800"/>
          </a:xfrm>
          <a:prstGeom prst="flowChartPunchedCard">
            <a:avLst/>
          </a:prstGeom>
          <a:solidFill>
            <a:srgbClr val="7F7F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arameters</a:t>
            </a:r>
          </a:p>
        </p:txBody>
      </p:sp>
      <p:sp>
        <p:nvSpPr>
          <p:cNvPr id="11" name="Cloud 10"/>
          <p:cNvSpPr/>
          <p:nvPr/>
        </p:nvSpPr>
        <p:spPr>
          <a:xfrm>
            <a:off x="1261344" y="5859462"/>
            <a:ext cx="2084237" cy="7620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zure</a:t>
            </a:r>
          </a:p>
        </p:txBody>
      </p:sp>
      <p:sp>
        <p:nvSpPr>
          <p:cNvPr id="14" name="Flowchart: Alternate Process 13"/>
          <p:cNvSpPr/>
          <p:nvPr/>
        </p:nvSpPr>
        <p:spPr>
          <a:xfrm>
            <a:off x="1493837" y="2506662"/>
            <a:ext cx="1676400" cy="762000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cos</a:t>
            </a:r>
            <a:r>
              <a:rPr lang="en-US" dirty="0"/>
              <a:t>-engine</a:t>
            </a:r>
          </a:p>
        </p:txBody>
      </p:sp>
      <p:sp>
        <p:nvSpPr>
          <p:cNvPr id="15" name="Flowchart: Alternate Process 14"/>
          <p:cNvSpPr/>
          <p:nvPr/>
        </p:nvSpPr>
        <p:spPr>
          <a:xfrm>
            <a:off x="1617662" y="4739761"/>
            <a:ext cx="1371600" cy="762000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M</a:t>
            </a:r>
          </a:p>
        </p:txBody>
      </p:sp>
      <p:cxnSp>
        <p:nvCxnSpPr>
          <p:cNvPr id="19" name="Straight Arrow Connector 18"/>
          <p:cNvCxnSpPr>
            <a:cxnSpLocks/>
            <a:stCxn id="14" idx="2"/>
            <a:endCxn id="8" idx="0"/>
          </p:cNvCxnSpPr>
          <p:nvPr/>
        </p:nvCxnSpPr>
        <p:spPr>
          <a:xfrm flipH="1">
            <a:off x="1722437" y="3268662"/>
            <a:ext cx="609600" cy="356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  <a:stCxn id="14" idx="2"/>
            <a:endCxn id="9" idx="0"/>
          </p:cNvCxnSpPr>
          <p:nvPr/>
        </p:nvCxnSpPr>
        <p:spPr>
          <a:xfrm>
            <a:off x="2332037" y="3268662"/>
            <a:ext cx="685800" cy="356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cxnSpLocks/>
            <a:endCxn id="14" idx="0"/>
          </p:cNvCxnSpPr>
          <p:nvPr/>
        </p:nvCxnSpPr>
        <p:spPr>
          <a:xfrm>
            <a:off x="2332037" y="2148961"/>
            <a:ext cx="0" cy="35770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8" idx="2"/>
            <a:endCxn id="15" idx="0"/>
          </p:cNvCxnSpPr>
          <p:nvPr/>
        </p:nvCxnSpPr>
        <p:spPr>
          <a:xfrm>
            <a:off x="1722437" y="4311377"/>
            <a:ext cx="581025" cy="4283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9" idx="2"/>
            <a:endCxn id="15" idx="0"/>
          </p:cNvCxnSpPr>
          <p:nvPr/>
        </p:nvCxnSpPr>
        <p:spPr>
          <a:xfrm flipH="1">
            <a:off x="2303462" y="4311377"/>
            <a:ext cx="714375" cy="4283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5" idx="2"/>
            <a:endCxn id="11" idx="3"/>
          </p:cNvCxnSpPr>
          <p:nvPr/>
        </p:nvCxnSpPr>
        <p:spPr>
          <a:xfrm>
            <a:off x="2303462" y="5501761"/>
            <a:ext cx="1" cy="4012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70B3D67-8C37-4FDC-BA62-4574086590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837" y="1058863"/>
            <a:ext cx="3368074" cy="586739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FB202BE-E7BD-4120-82DF-5578683015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4287" y="1058862"/>
            <a:ext cx="3696149" cy="1900238"/>
          </a:xfrm>
          <a:prstGeom prst="rect">
            <a:avLst/>
          </a:prstGeom>
        </p:spPr>
      </p:pic>
      <p:sp>
        <p:nvSpPr>
          <p:cNvPr id="6" name="Flowchart: Process 5">
            <a:extLst>
              <a:ext uri="{FF2B5EF4-FFF2-40B4-BE49-F238E27FC236}">
                <a16:creationId xmlns:a16="http://schemas.microsoft.com/office/drawing/2014/main" id="{93E59F90-0185-4C97-BC9C-E1ED4398B522}"/>
              </a:ext>
            </a:extLst>
          </p:cNvPr>
          <p:cNvSpPr/>
          <p:nvPr/>
        </p:nvSpPr>
        <p:spPr>
          <a:xfrm>
            <a:off x="8671911" y="4651911"/>
            <a:ext cx="1552576" cy="937699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I model</a:t>
            </a:r>
          </a:p>
          <a:p>
            <a:pPr algn="ctr"/>
            <a:r>
              <a:rPr lang="en-US" dirty="0"/>
              <a:t>(46 lines)</a:t>
            </a:r>
          </a:p>
        </p:txBody>
      </p:sp>
      <p:sp>
        <p:nvSpPr>
          <p:cNvPr id="24" name="Flowchart: Process 23">
            <a:extLst>
              <a:ext uri="{FF2B5EF4-FFF2-40B4-BE49-F238E27FC236}">
                <a16:creationId xmlns:a16="http://schemas.microsoft.com/office/drawing/2014/main" id="{5CDB00A8-9819-490D-BD4F-C42E2737E2ED}"/>
              </a:ext>
            </a:extLst>
          </p:cNvPr>
          <p:cNvSpPr/>
          <p:nvPr/>
        </p:nvSpPr>
        <p:spPr>
          <a:xfrm>
            <a:off x="9999661" y="2940563"/>
            <a:ext cx="1552576" cy="937699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M template</a:t>
            </a:r>
          </a:p>
          <a:p>
            <a:pPr algn="ctr"/>
            <a:r>
              <a:rPr lang="en-US" dirty="0"/>
              <a:t>(2542 lines)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63942457-7E73-4711-BC06-21D451B7F5D8}"/>
              </a:ext>
            </a:extLst>
          </p:cNvPr>
          <p:cNvCxnSpPr>
            <a:cxnSpLocks/>
            <a:endCxn id="32" idx="0"/>
          </p:cNvCxnSpPr>
          <p:nvPr/>
        </p:nvCxnSpPr>
        <p:spPr>
          <a:xfrm>
            <a:off x="2332037" y="3268662"/>
            <a:ext cx="1981947" cy="356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lowchart: Card 31">
            <a:extLst>
              <a:ext uri="{FF2B5EF4-FFF2-40B4-BE49-F238E27FC236}">
                <a16:creationId xmlns:a16="http://schemas.microsoft.com/office/drawing/2014/main" id="{09506097-F73F-4342-844B-50FCBCC82D37}"/>
              </a:ext>
            </a:extLst>
          </p:cNvPr>
          <p:cNvSpPr/>
          <p:nvPr/>
        </p:nvSpPr>
        <p:spPr>
          <a:xfrm>
            <a:off x="3704384" y="3625577"/>
            <a:ext cx="1219200" cy="685800"/>
          </a:xfrm>
          <a:prstGeom prst="flowChartPunchedCard">
            <a:avLst/>
          </a:prstGeom>
          <a:solidFill>
            <a:srgbClr val="7F7F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API model</a:t>
            </a:r>
          </a:p>
        </p:txBody>
      </p:sp>
    </p:spTree>
    <p:extLst>
      <p:ext uri="{BB962C8B-B14F-4D97-AF65-F5344CB8AC3E}">
        <p14:creationId xmlns:p14="http://schemas.microsoft.com/office/powerpoint/2010/main" val="38830098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39401DC4-CCCE-40F2-8324-9EF5CB65F81B}"/>
              </a:ext>
            </a:extLst>
          </p:cNvPr>
          <p:cNvSpPr txBox="1">
            <a:spLocks/>
          </p:cNvSpPr>
          <p:nvPr/>
        </p:nvSpPr>
        <p:spPr>
          <a:xfrm>
            <a:off x="274637" y="220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 sz="3200" b="1" dirty="0" err="1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dcos</a:t>
            </a:r>
            <a:r>
              <a:rPr lang="en-US" sz="3200" b="1" dirty="0">
                <a:latin typeface="Verdana" panose="020B0604030504040204" pitchFamily="34" charset="0"/>
                <a:ea typeface="Verdana" panose="020B0604030504040204" pitchFamily="34" charset="0"/>
                <a:cs typeface="Aharoni" panose="02010803020104030203" pitchFamily="2" charset="-79"/>
              </a:rPr>
              <a:t>-engine features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739FA442-6287-43D4-A71E-B422CB3BDCE6}"/>
              </a:ext>
            </a:extLst>
          </p:cNvPr>
          <p:cNvSpPr txBox="1">
            <a:spLocks/>
          </p:cNvSpPr>
          <p:nvPr/>
        </p:nvSpPr>
        <p:spPr>
          <a:xfrm>
            <a:off x="611963" y="754062"/>
            <a:ext cx="5181600" cy="457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32742" rtl="0" eaLnBrk="1" latinLnBrk="0" hangingPunct="1">
              <a:defRPr sz="122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Node pre- and post- provision</a:t>
            </a:r>
          </a:p>
          <a:p>
            <a:pPr marL="923498" lvl="1" indent="-4572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master and agen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uthentication</a:t>
            </a:r>
          </a:p>
          <a:p>
            <a:pPr marL="923498" lvl="1" indent="-457200">
              <a:buFont typeface="Courier New" panose="02070309020205020404" pitchFamily="49" charset="0"/>
              <a:buChar char="o"/>
            </a:pPr>
            <a:r>
              <a:rPr lang="en-US" sz="24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Oauth</a:t>
            </a: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923498" lvl="1" indent="-457200">
              <a:buFont typeface="Courier New" panose="02070309020205020404" pitchFamily="49" charset="0"/>
              <a:buChar char="o"/>
            </a:pPr>
            <a:r>
              <a:rPr lang="en-US"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Master-agent</a:t>
            </a: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onfigurable cluster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number of master nodes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C/OS version or release</a:t>
            </a:r>
          </a:p>
          <a:p>
            <a:pPr marL="342900" indent="-342900">
              <a:buFontTx/>
              <a:buChar char="-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6947AC3-B314-4067-B21A-9F101C0692FC}"/>
              </a:ext>
            </a:extLst>
          </p:cNvPr>
          <p:cNvSpPr txBox="1">
            <a:spLocks/>
          </p:cNvSpPr>
          <p:nvPr/>
        </p:nvSpPr>
        <p:spPr>
          <a:xfrm>
            <a:off x="6065837" y="1058861"/>
            <a:ext cx="6370638" cy="5715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32742" rtl="0" eaLnBrk="1" latinLnBrk="0" hangingPunct="1">
              <a:defRPr sz="122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Multiple Agent Pools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Multiple Network configurations</a:t>
            </a:r>
          </a:p>
          <a:p>
            <a:pPr marL="1275497" lvl="2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rivate pools</a:t>
            </a:r>
          </a:p>
          <a:p>
            <a:pPr marL="1275497" lvl="2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ublic pools with configurable ports</a:t>
            </a:r>
          </a:p>
          <a:p>
            <a:pPr marL="1275497" lvl="2" indent="-342900">
              <a:buFontTx/>
              <a:buChar char="-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ustom VNET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onfigurable count of VMs in the pool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OS: Linux or Windows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VM features: GPU, SSD, Large memory</a:t>
            </a:r>
          </a:p>
          <a:p>
            <a:pPr marL="809198" lvl="1" indent="-342900">
              <a:buFont typeface="Courier New" panose="02070309020205020404" pitchFamily="49" charset="0"/>
              <a:buChar char="o"/>
            </a:pPr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isks</a:t>
            </a:r>
          </a:p>
          <a:p>
            <a:pPr lvl="1"/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	- configurable OS disk size</a:t>
            </a:r>
          </a:p>
          <a:p>
            <a:pPr lvl="2"/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- configurable count of attached disks</a:t>
            </a:r>
          </a:p>
          <a:p>
            <a:pPr lvl="2"/>
            <a:r>
              <a:rPr 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- configurable size of attached disks</a:t>
            </a:r>
          </a:p>
          <a:p>
            <a:pPr marL="342900" indent="-342900">
              <a:buFontTx/>
              <a:buChar char="-"/>
            </a:pPr>
            <a:endParaRPr 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69052072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2919AEDD-0101-441B-B6AF-1CDAE3B8CD78}"/>
    </a:ext>
  </a:extLst>
</a:theme>
</file>

<file path=ppt/theme/theme10.xml><?xml version="1.0" encoding="utf-8"?>
<a:theme xmlns:a="http://schemas.openxmlformats.org/drawingml/2006/main" name="1_6-30537_Envision 2016 Concurrent Template_Dark">
  <a:themeElements>
    <a:clrScheme name="Ignite Dark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D2D2D2"/>
      </a:accent3>
      <a:accent4>
        <a:srgbClr val="FFB900"/>
      </a:accent4>
      <a:accent5>
        <a:srgbClr val="FF8C00"/>
      </a:accent5>
      <a:accent6>
        <a:srgbClr val="00BCF2"/>
      </a:accent6>
      <a:hlink>
        <a:srgbClr val="0078D7"/>
      </a:hlink>
      <a:folHlink>
        <a:srgbClr val="0078D7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3D8EA723-330F-4CE4-9E9B-7A3528C3E25F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-30537_Envision 2016 Concurrent Template_Dark">
  <a:themeElements>
    <a:clrScheme name="Ignite Dark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D2D2D2"/>
      </a:accent3>
      <a:accent4>
        <a:srgbClr val="FFB900"/>
      </a:accent4>
      <a:accent5>
        <a:srgbClr val="FF8C00"/>
      </a:accent5>
      <a:accent6>
        <a:srgbClr val="00BCF2"/>
      </a:accent6>
      <a:hlink>
        <a:srgbClr val="0078D7"/>
      </a:hlink>
      <a:folHlink>
        <a:srgbClr val="0078D7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3D8EA723-330F-4CE4-9E9B-7A3528C3E25F}"/>
    </a:ext>
  </a:extLst>
</a:theme>
</file>

<file path=ppt/theme/theme3.xml><?xml version="1.0" encoding="utf-8"?>
<a:theme xmlns:a="http://schemas.openxmlformats.org/drawingml/2006/main" name="1_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4A547913-FDF7-4DFF-9D24-2FF6685A0CA8}"/>
    </a:ext>
  </a:extLst>
</a:theme>
</file>

<file path=ppt/theme/theme4.xml><?xml version="1.0" encoding="utf-8"?>
<a:theme xmlns:a="http://schemas.openxmlformats.org/drawingml/2006/main" name="2_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2919AEDD-0101-441B-B6AF-1CDAE3B8CD78}"/>
    </a:ext>
  </a:extLst>
</a:theme>
</file>

<file path=ppt/theme/theme5.xml><?xml version="1.0" encoding="utf-8"?>
<a:theme xmlns:a="http://schemas.openxmlformats.org/drawingml/2006/main" name="2_3-30810_Convergence_EMEA_Keynote_Template_Dark">
  <a:themeElements>
    <a:clrScheme name="Convergence EMEA Keynote">
      <a:dk1>
        <a:srgbClr val="505050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107C10"/>
      </a:accent2>
      <a:accent3>
        <a:srgbClr val="5C2D91"/>
      </a:accent3>
      <a:accent4>
        <a:srgbClr val="00BCF2"/>
      </a:accent4>
      <a:accent5>
        <a:srgbClr val="BAD80A"/>
      </a:accent5>
      <a:accent6>
        <a:srgbClr val="D83B01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nvergence_EMEA_2015_Keynote_Template_112815.potx" id="{DA0FC16E-D2EC-49E0-A00D-C5B1477A9FF9}" vid="{AD0C3C5F-688D-42AF-83E6-C9ACAED83AE6}"/>
    </a:ext>
  </a:extLst>
</a:theme>
</file>

<file path=ppt/theme/theme6.xml><?xml version="1.0" encoding="utf-8"?>
<a:theme xmlns:a="http://schemas.openxmlformats.org/drawingml/2006/main" name="1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7.xml><?xml version="1.0" encoding="utf-8"?>
<a:theme xmlns:a="http://schemas.openxmlformats.org/drawingml/2006/main" name="TEE14 Speaker PPT Template">
  <a:themeElements>
    <a:clrScheme name="Custom 1">
      <a:dk1>
        <a:srgbClr val="505050"/>
      </a:dk1>
      <a:lt1>
        <a:srgbClr val="FFFFFF"/>
      </a:lt1>
      <a:dk2>
        <a:srgbClr val="442359"/>
      </a:dk2>
      <a:lt2>
        <a:srgbClr val="68217A"/>
      </a:lt2>
      <a:accent1>
        <a:srgbClr val="7FBA00"/>
      </a:accent1>
      <a:accent2>
        <a:srgbClr val="DC3C00"/>
      </a:accent2>
      <a:accent3>
        <a:srgbClr val="002050"/>
      </a:accent3>
      <a:accent4>
        <a:srgbClr val="009E49"/>
      </a:accent4>
      <a:accent5>
        <a:srgbClr val="00B294"/>
      </a:accent5>
      <a:accent6>
        <a:srgbClr val="0072C6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Ed EMEA 2014 IaaS" id="{C0CEA687-B31B-4231-9DEB-904DC7556346}" vid="{48E09565-7C12-45B6-AC51-51E513F7A6AA}"/>
    </a:ext>
  </a:extLst>
</a:theme>
</file>

<file path=ppt/theme/theme8.xml><?xml version="1.0" encoding="utf-8"?>
<a:theme xmlns:a="http://schemas.openxmlformats.org/drawingml/2006/main" name="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0DA3E00C54B0499CB20DAB6D5FCEDC" ma:contentTypeVersion="6" ma:contentTypeDescription="Create a new document." ma:contentTypeScope="" ma:versionID="0fe1a9c2e852ababc7a19b6d800daacf">
  <xsd:schema xmlns:xsd="http://www.w3.org/2001/XMLSchema" xmlns:xs="http://www.w3.org/2001/XMLSchema" xmlns:p="http://schemas.microsoft.com/office/2006/metadata/properties" xmlns:ns2="b9455cd9-8d1a-4809-811f-5262230cf84f" xmlns:ns3="9c8075f7-1a86-41d6-a0c9-e3ad17d5d095" targetNamespace="http://schemas.microsoft.com/office/2006/metadata/properties" ma:root="true" ma:fieldsID="4fcf5b516b6ad7854231ff74a8b2501c" ns2:_="" ns3:_="">
    <xsd:import namespace="b9455cd9-8d1a-4809-811f-5262230cf84f"/>
    <xsd:import namespace="9c8075f7-1a86-41d6-a0c9-e3ad17d5d09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455cd9-8d1a-4809-811f-5262230cf84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8075f7-1a86-41d6-a0c9-e3ad17d5d0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9455cd9-8d1a-4809-811f-5262230cf84f">
      <UserInfo>
        <DisplayName>Dag König</DisplayName>
        <AccountId>542</AccountId>
        <AccountType/>
      </UserInfo>
      <UserInfo>
        <DisplayName>Dave Voyles</DisplayName>
        <AccountId>550</AccountId>
        <AccountType/>
      </UserInfo>
      <UserInfo>
        <DisplayName>Chandu Cheeti</DisplayName>
        <AccountId>551</AccountId>
        <AccountType/>
      </UserInfo>
      <UserInfo>
        <DisplayName>Iryna Bondarenko (InConsulting Inc.)</DisplayName>
        <AccountId>552</AccountId>
        <AccountType/>
      </UserInfo>
      <UserInfo>
        <DisplayName>Peter Williams (CDSA UK)</DisplayName>
        <AccountId>559</AccountId>
        <AccountType/>
      </UserInfo>
      <UserInfo>
        <DisplayName>Ray Kao</DisplayName>
        <AccountId>560</AccountId>
        <AccountType/>
      </UserInfo>
      <UserInfo>
        <DisplayName>Jose Gonzalez (Practia Consulting Limitada)</DisplayName>
        <AccountId>564</AccountId>
        <AccountType/>
      </UserInfo>
      <UserInfo>
        <DisplayName>Cosmin Cojocar</DisplayName>
        <AccountId>46</AccountId>
        <AccountType/>
      </UserInfo>
      <UserInfo>
        <DisplayName>Steve Kaiser</DisplayName>
        <AccountId>37</AccountId>
        <AccountType/>
      </UserInfo>
      <UserInfo>
        <DisplayName>Tim Reilly</DisplayName>
        <AccountId>602</AccountId>
        <AccountType/>
      </UserInfo>
      <UserInfo>
        <DisplayName>Saurya Das</DisplayName>
        <AccountId>78</AccountId>
        <AccountType/>
      </UserInfo>
      <UserInfo>
        <DisplayName>Anand Chandramohan</DisplayName>
        <AccountId>121</AccountId>
        <AccountType/>
      </UserInfo>
      <UserInfo>
        <DisplayName>Ross Gardler</DisplayName>
        <AccountId>12</AccountId>
        <AccountType/>
      </UserInfo>
    </SharedWithUsers>
    <LastSharedByUser xmlns="b9455cd9-8d1a-4809-811f-5262230cf84f">saudas@microsoft.com</LastSharedByUser>
    <LastSharedByTime xmlns="b9455cd9-8d1a-4809-811f-5262230cf84f">2017-05-17T03:38:30+00:00</LastSharedByTim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EC805D0-EBE6-4A0E-90CF-48057CB034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455cd9-8d1a-4809-811f-5262230cf84f"/>
    <ds:schemaRef ds:uri="9c8075f7-1a86-41d6-a0c9-e3ad17d5d0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b9455cd9-8d1a-4809-811f-5262230cf84f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9c8075f7-1a86-41d6-a0c9-e3ad17d5d09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_2016_16x9_Template</Template>
  <TotalTime>19061</TotalTime>
  <Words>2693</Words>
  <Application>Microsoft Office PowerPoint</Application>
  <PresentationFormat>Custom</PresentationFormat>
  <Paragraphs>452</Paragraphs>
  <Slides>47</Slides>
  <Notes>4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70" baseType="lpstr">
      <vt:lpstr>Arial</vt:lpstr>
      <vt:lpstr>Calibri</vt:lpstr>
      <vt:lpstr>Calibri Light</vt:lpstr>
      <vt:lpstr>Consolas</vt:lpstr>
      <vt:lpstr>Courier New</vt:lpstr>
      <vt:lpstr>Segoe Semibold</vt:lpstr>
      <vt:lpstr>Segoe UI</vt:lpstr>
      <vt:lpstr>Segoe UI Light</vt:lpstr>
      <vt:lpstr>Segoe UI Semilight</vt:lpstr>
      <vt:lpstr>Trebuchet MS</vt:lpstr>
      <vt:lpstr>Verdana</vt:lpstr>
      <vt:lpstr>Wingdings</vt:lpstr>
      <vt:lpstr>5-50002_Ignite_Breakout_Template</vt:lpstr>
      <vt:lpstr>6-30537_Envision 2016 Concurrent Template_Dark</vt:lpstr>
      <vt:lpstr>1_5-50002_Ignite_Breakout_Template</vt:lpstr>
      <vt:lpstr>2_5-50002_Ignite_Breakout_Template</vt:lpstr>
      <vt:lpstr>2_3-30810_Convergence_EMEA_Keynote_Template_Dark</vt:lpstr>
      <vt:lpstr>1_5-30660_TR21_BO_CT_Template</vt:lpstr>
      <vt:lpstr>TEE14 Speaker PPT Template</vt:lpstr>
      <vt:lpstr>5-30721_Build_2016_Template_Light</vt:lpstr>
      <vt:lpstr>Office Theme</vt:lpstr>
      <vt:lpstr>1_6-30537_Envision 2016 Concurrent Template_Dark</vt:lpstr>
      <vt:lpstr>think-cell Slide</vt:lpstr>
      <vt:lpstr>Deploying and managing DC/OS clusters in  Microsoft Azure.</vt:lpstr>
      <vt:lpstr>Agenda</vt:lpstr>
      <vt:lpstr>Provisioning resources in ARM</vt:lpstr>
      <vt:lpstr>Provisioning resources in ARM (cont.)</vt:lpstr>
      <vt:lpstr>Provisioning resources in ARM (cont.)</vt:lpstr>
      <vt:lpstr>Provisioning resources in ARM (cont.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 goes here</dc:title>
  <dc:subject>&lt;Speech title here&gt;</dc:subject>
  <dc:creator>Drew McDaniel</dc:creator>
  <cp:keywords>Microsoft 2016</cp:keywords>
  <dc:description>Template: Mitchell Derrey, Silverfox Productions_x000d_
Formatting: _x000d_
Audience Type:</dc:description>
  <cp:lastModifiedBy>Dmitry Shmulevich</cp:lastModifiedBy>
  <cp:revision>686</cp:revision>
  <dcterms:created xsi:type="dcterms:W3CDTF">2016-09-20T18:02:04Z</dcterms:created>
  <dcterms:modified xsi:type="dcterms:W3CDTF">2018-11-22T00:14:55Z</dcterms:modified>
  <cp:category>Microsoft 2016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70DA3E00C54B0499CB20DAB6D5FCEDC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7;#Georgia World Congress Center|ea0ece34-59a6-4d43-8d9e-d0f9e2a2f1ce</vt:lpwstr>
  </property>
  <property fmtid="{D5CDD505-2E9C-101B-9397-08002B2CF9AE}" pid="7" name="Track">
    <vt:lpwstr/>
  </property>
  <property fmtid="{D5CDD505-2E9C-101B-9397-08002B2CF9AE}" pid="8" name="Event Location">
    <vt:lpwstr>176;#Atlanta|01fb9831-5840-48a0-a576-3e48f42baa53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TaxKeyword">
    <vt:lpwstr>174;#Microsoft Ignite 2016|e2f6a88c-86f9-4b25-a2af-b5c3afa8c82a</vt:lpwstr>
  </property>
  <property fmtid="{D5CDD505-2E9C-101B-9397-08002B2CF9AE}" pid="12" name="Audience1">
    <vt:lpwstr/>
  </property>
  <property fmtid="{D5CDD505-2E9C-101B-9397-08002B2CF9AE}" pid="13" name="Event Name">
    <vt:lpwstr>175;#Microsoft Ignite|9323c522-fe4b-4922-816b-10a1920d7afb</vt:lpwstr>
  </property>
  <property fmtid="{D5CDD505-2E9C-101B-9397-08002B2CF9AE}" pid="14" name="MSIP_Label_f42aa342-8706-4288-bd11-ebb85995028c_Enabled">
    <vt:lpwstr>True</vt:lpwstr>
  </property>
  <property fmtid="{D5CDD505-2E9C-101B-9397-08002B2CF9AE}" pid="15" name="MSIP_Label_f42aa342-8706-4288-bd11-ebb85995028c_SiteId">
    <vt:lpwstr>72f988bf-86f1-41af-91ab-2d7cd011db47</vt:lpwstr>
  </property>
  <property fmtid="{D5CDD505-2E9C-101B-9397-08002B2CF9AE}" pid="16" name="MSIP_Label_f42aa342-8706-4288-bd11-ebb85995028c_Ref">
    <vt:lpwstr>https://api.informationprotection.azure.com/api/72f988bf-86f1-41af-91ab-2d7cd011db47</vt:lpwstr>
  </property>
  <property fmtid="{D5CDD505-2E9C-101B-9397-08002B2CF9AE}" pid="17" name="MSIP_Label_f42aa342-8706-4288-bd11-ebb85995028c_SetBy">
    <vt:lpwstr>rogardle@microsoft.com</vt:lpwstr>
  </property>
  <property fmtid="{D5CDD505-2E9C-101B-9397-08002B2CF9AE}" pid="18" name="MSIP_Label_f42aa342-8706-4288-bd11-ebb85995028c_SetDate">
    <vt:lpwstr>2017-05-02T14:55:12.3252986-07:00</vt:lpwstr>
  </property>
  <property fmtid="{D5CDD505-2E9C-101B-9397-08002B2CF9AE}" pid="19" name="MSIP_Label_f42aa342-8706-4288-bd11-ebb85995028c_Name">
    <vt:lpwstr>General</vt:lpwstr>
  </property>
  <property fmtid="{D5CDD505-2E9C-101B-9397-08002B2CF9AE}" pid="20" name="MSIP_Label_f42aa342-8706-4288-bd11-ebb85995028c_Application">
    <vt:lpwstr>Microsoft Azure Information Protection</vt:lpwstr>
  </property>
  <property fmtid="{D5CDD505-2E9C-101B-9397-08002B2CF9AE}" pid="21" name="MSIP_Label_f42aa342-8706-4288-bd11-ebb85995028c_Extended_MSFT_Method">
    <vt:lpwstr>Automatic</vt:lpwstr>
  </property>
  <property fmtid="{D5CDD505-2E9C-101B-9397-08002B2CF9AE}" pid="22" name="Sensitivity">
    <vt:lpwstr>General</vt:lpwstr>
  </property>
</Properties>
</file>